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468" r:id="rId4"/>
    <p:sldMasterId id="2147484581" r:id="rId5"/>
    <p:sldMasterId id="2147484603" r:id="rId6"/>
  </p:sldMasterIdLst>
  <p:notesMasterIdLst>
    <p:notesMasterId r:id="rId37"/>
  </p:notesMasterIdLst>
  <p:handoutMasterIdLst>
    <p:handoutMasterId r:id="rId38"/>
  </p:handoutMasterIdLst>
  <p:sldIdLst>
    <p:sldId id="5561" r:id="rId7"/>
    <p:sldId id="5564" r:id="rId8"/>
    <p:sldId id="5546" r:id="rId9"/>
    <p:sldId id="5565" r:id="rId10"/>
    <p:sldId id="5545" r:id="rId11"/>
    <p:sldId id="5547" r:id="rId12"/>
    <p:sldId id="7867" r:id="rId13"/>
    <p:sldId id="7872" r:id="rId14"/>
    <p:sldId id="7870" r:id="rId15"/>
    <p:sldId id="7871" r:id="rId16"/>
    <p:sldId id="7875" r:id="rId17"/>
    <p:sldId id="7879" r:id="rId18"/>
    <p:sldId id="5554" r:id="rId19"/>
    <p:sldId id="5557" r:id="rId20"/>
    <p:sldId id="5572" r:id="rId21"/>
    <p:sldId id="7880" r:id="rId22"/>
    <p:sldId id="5558" r:id="rId23"/>
    <p:sldId id="7873" r:id="rId24"/>
    <p:sldId id="7868" r:id="rId25"/>
    <p:sldId id="7876" r:id="rId26"/>
    <p:sldId id="7874" r:id="rId27"/>
    <p:sldId id="5536" r:id="rId28"/>
    <p:sldId id="5520" r:id="rId29"/>
    <p:sldId id="7859" r:id="rId30"/>
    <p:sldId id="7877" r:id="rId31"/>
    <p:sldId id="5559" r:id="rId32"/>
    <p:sldId id="5539" r:id="rId33"/>
    <p:sldId id="5526" r:id="rId34"/>
    <p:sldId id="5540" r:id="rId35"/>
    <p:sldId id="5470" r:id="rId36"/>
  </p:sldIdLst>
  <p:sldSz cx="12192000" cy="6858000"/>
  <p:notesSz cx="6742113" cy="9872663"/>
  <p:custDataLst>
    <p:tags r:id="rId3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15527D5-279F-4AB8-8FA4-DE0BDD155AB6}">
          <p14:sldIdLst>
            <p14:sldId id="5561"/>
            <p14:sldId id="5564"/>
            <p14:sldId id="5546"/>
            <p14:sldId id="5565"/>
            <p14:sldId id="5545"/>
            <p14:sldId id="5547"/>
            <p14:sldId id="7867"/>
            <p14:sldId id="7872"/>
            <p14:sldId id="7870"/>
            <p14:sldId id="7871"/>
            <p14:sldId id="7875"/>
            <p14:sldId id="7879"/>
            <p14:sldId id="5554"/>
            <p14:sldId id="5557"/>
            <p14:sldId id="5572"/>
            <p14:sldId id="7880"/>
            <p14:sldId id="5558"/>
            <p14:sldId id="7873"/>
            <p14:sldId id="7868"/>
            <p14:sldId id="7876"/>
            <p14:sldId id="7874"/>
            <p14:sldId id="5536"/>
            <p14:sldId id="5520"/>
            <p14:sldId id="7859"/>
            <p14:sldId id="7877"/>
            <p14:sldId id="5559"/>
            <p14:sldId id="5539"/>
            <p14:sldId id="5526"/>
            <p14:sldId id="5540"/>
            <p14:sldId id="5470"/>
          </p14:sldIdLst>
        </p14:section>
        <p14:section name="Digital@Exxaro" id="{BF918B9A-D423-483D-A8BB-03DD5554B5F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A0BB"/>
    <a:srgbClr val="88CED1"/>
    <a:srgbClr val="3A2B26"/>
    <a:srgbClr val="000000"/>
    <a:srgbClr val="85C004"/>
    <a:srgbClr val="2D3441"/>
    <a:srgbClr val="8FAE84"/>
    <a:srgbClr val="B0B0B0"/>
    <a:srgbClr val="A5CF4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70" autoAdjust="0"/>
    <p:restoredTop sz="93320" autoAdjust="0"/>
  </p:normalViewPr>
  <p:slideViewPr>
    <p:cSldViewPr snapToGrid="0">
      <p:cViewPr varScale="1">
        <p:scale>
          <a:sx n="115" d="100"/>
          <a:sy n="115" d="100"/>
        </p:scale>
        <p:origin x="224" y="3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364"/>
    </p:cViewPr>
  </p:sorterViewPr>
  <p:notesViewPr>
    <p:cSldViewPr snapToGrid="0">
      <p:cViewPr varScale="1">
        <p:scale>
          <a:sx n="49" d="100"/>
          <a:sy n="49" d="100"/>
        </p:scale>
        <p:origin x="2928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gs" Target="tags/tag1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heme" Target="theme/theme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ableStyles" Target="tableStyle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ZA" sz="1100" b="1" i="0" baseline="0" dirty="0">
                <a:effectLst/>
                <a:latin typeface="Graphik" panose="020B0503030202060203" pitchFamily="34" charset="0"/>
              </a:rPr>
              <a:t>ROM Throughput Improvement (FY20 - FY24)</a:t>
            </a:r>
            <a:endParaRPr lang="en-US" sz="1100" dirty="0">
              <a:effectLst/>
              <a:latin typeface="Graphik" panose="020B0503030202060203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Exec Summary'!$U$22</c:f>
              <c:strCache>
                <c:ptCount val="1"/>
                <c:pt idx="0">
                  <c:v>BFS Base Case</c:v>
                </c:pt>
              </c:strCache>
            </c:strRef>
          </c:tx>
          <c:spPr>
            <a:solidFill>
              <a:srgbClr val="8FD400"/>
            </a:solidFill>
            <a:ln>
              <a:noFill/>
            </a:ln>
            <a:effectLst/>
          </c:spPr>
          <c:invertIfNegative val="0"/>
          <c:cat>
            <c:numRef>
              <c:f>'Exec Summary'!$V$21:$Z$2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'Exec Summary'!$V$22:$Z$22</c:f>
              <c:numCache>
                <c:formatCode>General</c:formatCode>
                <c:ptCount val="5"/>
                <c:pt idx="0">
                  <c:v>3</c:v>
                </c:pt>
                <c:pt idx="1">
                  <c:v>3.25</c:v>
                </c:pt>
                <c:pt idx="2">
                  <c:v>3.25</c:v>
                </c:pt>
                <c:pt idx="3">
                  <c:v>3.25</c:v>
                </c:pt>
                <c:pt idx="4">
                  <c:v>3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404-4A98-B023-916769224554}"/>
            </c:ext>
          </c:extLst>
        </c:ser>
        <c:ser>
          <c:idx val="1"/>
          <c:order val="1"/>
          <c:tx>
            <c:strRef>
              <c:f>'Exec Summary'!$U$23</c:f>
              <c:strCache>
                <c:ptCount val="1"/>
                <c:pt idx="0">
                  <c:v>Improvement</c:v>
                </c:pt>
              </c:strCache>
            </c:strRef>
          </c:tx>
          <c:spPr>
            <a:solidFill>
              <a:srgbClr val="212F3F"/>
            </a:solidFill>
            <a:ln>
              <a:noFill/>
            </a:ln>
            <a:effectLst/>
          </c:spPr>
          <c:invertIfNegative val="0"/>
          <c:cat>
            <c:numRef>
              <c:f>'Exec Summary'!$V$21:$Z$21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'Exec Summary'!$V$23:$Z$23</c:f>
              <c:numCache>
                <c:formatCode>General</c:formatCode>
                <c:ptCount val="5"/>
                <c:pt idx="0">
                  <c:v>0.25</c:v>
                </c:pt>
                <c:pt idx="1">
                  <c:v>0.25</c:v>
                </c:pt>
                <c:pt idx="2">
                  <c:v>0.45000000000000018</c:v>
                </c:pt>
                <c:pt idx="3">
                  <c:v>0.64999999999999991</c:v>
                </c:pt>
                <c:pt idx="4">
                  <c:v>0.84999999999999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404-4A98-B023-9167692245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86581592"/>
        <c:axId val="1086577984"/>
      </c:barChart>
      <c:catAx>
        <c:axId val="1086581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6577984"/>
        <c:crosses val="autoZero"/>
        <c:auto val="1"/>
        <c:lblAlgn val="ctr"/>
        <c:lblOffset val="100"/>
        <c:noMultiLvlLbl val="0"/>
      </c:catAx>
      <c:valAx>
        <c:axId val="1086577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6581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76C9523-109D-4F07-850D-82DC216A21D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8F08A5F-D559-48E5-B202-ADAF4CAA4CF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9525" y="0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A8E2EF-4182-4FCB-A912-EC1C6C0831D1}" type="datetimeFigureOut">
              <a:rPr lang="en-US" smtClean="0"/>
              <a:t>11/6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8DB4C4B-A09F-496D-B84F-E5D75B9E3E9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84286D-49B4-4F53-BDFC-947966E5C1D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9525" y="9377363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711445-43E1-4287-9C30-5E8C6EFD28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56814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BA8161-A163-4CF4-88AB-1ABA3990227A}" type="datetimeFigureOut">
              <a:rPr lang="en-ZA" smtClean="0"/>
              <a:t>2019/11/06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751219"/>
            <a:ext cx="539369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7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342AAD-F102-4FD5-8544-F1D166C85A78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09421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98" y="3546346"/>
            <a:ext cx="6945482" cy="642222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51080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4145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No chan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50520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 change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8944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 change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1352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1825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 change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75336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 change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65466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 change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28268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53434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6131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 change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342AAD-F102-4FD5-8544-F1D166C85A78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5138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7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6F2F62-D915-4209-87AF-14CCCCDE52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6F2F62-D915-4209-87AF-14CCCCDE5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A13BBEBE-AC7F-42D0-8DAB-688D5D85E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6"/>
          <a:stretch/>
        </p:blipFill>
        <p:spPr>
          <a:xfrm>
            <a:off x="-1" y="1"/>
            <a:ext cx="10695709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5AF2566-1ED1-4D63-A912-9CD27DC0FC1F}"/>
              </a:ext>
            </a:extLst>
          </p:cNvPr>
          <p:cNvSpPr/>
          <p:nvPr userDrawn="1"/>
        </p:nvSpPr>
        <p:spPr>
          <a:xfrm>
            <a:off x="2043014" y="0"/>
            <a:ext cx="10148986" cy="6897049"/>
          </a:xfrm>
          <a:prstGeom prst="rect">
            <a:avLst/>
          </a:prstGeom>
          <a:gradFill>
            <a:gsLst>
              <a:gs pos="67000">
                <a:srgbClr val="414D5B"/>
              </a:gs>
              <a:gs pos="38000">
                <a:srgbClr val="79828B">
                  <a:alpha val="74000"/>
                </a:srgbClr>
              </a:gs>
              <a:gs pos="93000">
                <a:srgbClr val="212F3F"/>
              </a:gs>
              <a:gs pos="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6B69C3B-9E8C-49F2-A6E4-D27DC170A504}"/>
              </a:ext>
            </a:extLst>
          </p:cNvPr>
          <p:cNvGrpSpPr/>
          <p:nvPr userDrawn="1"/>
        </p:nvGrpSpPr>
        <p:grpSpPr>
          <a:xfrm rot="2700000">
            <a:off x="663578" y="-865"/>
            <a:ext cx="1554480" cy="1554480"/>
            <a:chOff x="2358572" y="1016001"/>
            <a:chExt cx="856342" cy="856342"/>
          </a:xfrm>
          <a:effectLst/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076E61A-5D29-4D1E-BEF9-DBA02AE9657A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90500">
              <a:solidFill>
                <a:schemeClr val="tx1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AF9D641-0E24-4AE3-8D0D-B27530CA182C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90500">
              <a:solidFill>
                <a:schemeClr val="tx1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1E3D2997-919C-4774-BA4B-260FCA7706D9}"/>
              </a:ext>
            </a:extLst>
          </p:cNvPr>
          <p:cNvGrpSpPr/>
          <p:nvPr userDrawn="1"/>
        </p:nvGrpSpPr>
        <p:grpSpPr>
          <a:xfrm rot="2700000">
            <a:off x="67023" y="245687"/>
            <a:ext cx="2743200" cy="2743200"/>
            <a:chOff x="2358572" y="1016001"/>
            <a:chExt cx="856342" cy="856342"/>
          </a:xfrm>
          <a:effectLst/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A415BAB-0091-4EF3-B655-0AAD1F86489C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381000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8064AF0A-7AE3-4B64-B9F0-D97E6C52C34E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381000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083EC2E-2497-45B0-9812-30F116F4874D}"/>
              </a:ext>
            </a:extLst>
          </p:cNvPr>
          <p:cNvGrpSpPr/>
          <p:nvPr userDrawn="1"/>
        </p:nvGrpSpPr>
        <p:grpSpPr>
          <a:xfrm rot="2700000">
            <a:off x="1816671" y="1880265"/>
            <a:ext cx="640080" cy="640080"/>
            <a:chOff x="2358572" y="1016001"/>
            <a:chExt cx="856342" cy="856342"/>
          </a:xfrm>
          <a:effectLst/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EBE5977-09B4-47D9-9BEF-0785CB3D9933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27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CA6D5A60-B621-4FD9-A73A-36D83D1674D4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27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1380C12-2331-4F3D-8067-2B8C521AFFC4}"/>
              </a:ext>
            </a:extLst>
          </p:cNvPr>
          <p:cNvGrpSpPr/>
          <p:nvPr userDrawn="1"/>
        </p:nvGrpSpPr>
        <p:grpSpPr>
          <a:xfrm rot="2700000">
            <a:off x="2729379" y="450411"/>
            <a:ext cx="914400" cy="914400"/>
            <a:chOff x="2358572" y="1016001"/>
            <a:chExt cx="856342" cy="856342"/>
          </a:xfrm>
          <a:effectLst/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F4BAC2A-E272-44AF-99D5-F2472E3D1020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C794A9A-B349-4F59-A4BF-8A4E8280136A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Graphic 20">
            <a:extLst>
              <a:ext uri="{FF2B5EF4-FFF2-40B4-BE49-F238E27FC236}">
                <a16:creationId xmlns:a16="http://schemas.microsoft.com/office/drawing/2014/main" id="{B12FFFDF-7945-4231-9E17-9712E0D45E7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7172788" y="907611"/>
            <a:ext cx="4441316" cy="4992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742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2A026B5-A57B-4C9F-8D42-088484053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888" y="1487394"/>
            <a:ext cx="12202309" cy="5384532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856F86DB-776F-4B09-ACE9-0857017D112D}"/>
              </a:ext>
            </a:extLst>
          </p:cNvPr>
          <p:cNvSpPr/>
          <p:nvPr userDrawn="1"/>
        </p:nvSpPr>
        <p:spPr>
          <a:xfrm>
            <a:off x="-2271577" y="1430157"/>
            <a:ext cx="12192000" cy="5403324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rgbClr val="768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3647798" y="3661114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LEADERSHIP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3117090" y="4759663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5245626" y="5679296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INING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855401" y="4590323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906038" y="537577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365824" y="237686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MACROECONOMIC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106329" y="3876347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SKILL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0F36543C-2F1F-4F64-866D-27D15CA3ABC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grpSp>
        <p:nvGrpSpPr>
          <p:cNvPr id="173" name="Group 4">
            <a:extLst>
              <a:ext uri="{FF2B5EF4-FFF2-40B4-BE49-F238E27FC236}">
                <a16:creationId xmlns:a16="http://schemas.microsoft.com/office/drawing/2014/main" id="{C50C28B7-0D58-4C5A-B564-1A420F85A35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3655359" y="1971006"/>
            <a:ext cx="11086167" cy="7009095"/>
            <a:chOff x="1285" y="544"/>
            <a:chExt cx="5112" cy="3232"/>
          </a:xfrm>
          <a:solidFill>
            <a:schemeClr val="bg2">
              <a:alpha val="60000"/>
            </a:schemeClr>
          </a:solidFill>
        </p:grpSpPr>
        <p:sp>
          <p:nvSpPr>
            <p:cNvPr id="174" name="Freeform 5">
              <a:extLst>
                <a:ext uri="{FF2B5EF4-FFF2-40B4-BE49-F238E27FC236}">
                  <a16:creationId xmlns:a16="http://schemas.microsoft.com/office/drawing/2014/main" id="{16A78460-944F-40D8-9720-060CF38BCC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Freeform 6">
              <a:extLst>
                <a:ext uri="{FF2B5EF4-FFF2-40B4-BE49-F238E27FC236}">
                  <a16:creationId xmlns:a16="http://schemas.microsoft.com/office/drawing/2014/main" id="{D4FC20D1-A65A-4592-83A9-33ED6653F8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Freeform 7">
              <a:extLst>
                <a:ext uri="{FF2B5EF4-FFF2-40B4-BE49-F238E27FC236}">
                  <a16:creationId xmlns:a16="http://schemas.microsoft.com/office/drawing/2014/main" id="{431B3A64-8B9E-4B6C-8143-201A9FD52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78554E6B-03E1-4DD7-8D9D-BC14024B68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A5BAC18F-8976-445B-86B9-6676FD93A7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Freeform 10">
              <a:extLst>
                <a:ext uri="{FF2B5EF4-FFF2-40B4-BE49-F238E27FC236}">
                  <a16:creationId xmlns:a16="http://schemas.microsoft.com/office/drawing/2014/main" id="{9E6A8730-871E-4C7C-85C2-282A3F26EA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3362FEB1-7757-4C78-9CC0-1790E2C137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2" name="Freeform 12">
              <a:extLst>
                <a:ext uri="{FF2B5EF4-FFF2-40B4-BE49-F238E27FC236}">
                  <a16:creationId xmlns:a16="http://schemas.microsoft.com/office/drawing/2014/main" id="{AB1CAED1-2A2E-4D09-ACE3-2F0BDD8CEA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Freeform 13">
              <a:extLst>
                <a:ext uri="{FF2B5EF4-FFF2-40B4-BE49-F238E27FC236}">
                  <a16:creationId xmlns:a16="http://schemas.microsoft.com/office/drawing/2014/main" id="{2D374C0E-8D23-4EAF-AF0F-6BF2C66E7E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Freeform 14">
              <a:extLst>
                <a:ext uri="{FF2B5EF4-FFF2-40B4-BE49-F238E27FC236}">
                  <a16:creationId xmlns:a16="http://schemas.microsoft.com/office/drawing/2014/main" id="{F4B12C54-7E58-4993-87CF-0347A3A649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6" name="Freeform 15">
              <a:extLst>
                <a:ext uri="{FF2B5EF4-FFF2-40B4-BE49-F238E27FC236}">
                  <a16:creationId xmlns:a16="http://schemas.microsoft.com/office/drawing/2014/main" id="{2A40F3CE-6DB8-4A38-A3D4-28E25081B6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Freeform 16">
              <a:extLst>
                <a:ext uri="{FF2B5EF4-FFF2-40B4-BE49-F238E27FC236}">
                  <a16:creationId xmlns:a16="http://schemas.microsoft.com/office/drawing/2014/main" id="{DD150893-7AEA-4842-A45F-E32C017767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8" name="Freeform 17">
              <a:extLst>
                <a:ext uri="{FF2B5EF4-FFF2-40B4-BE49-F238E27FC236}">
                  <a16:creationId xmlns:a16="http://schemas.microsoft.com/office/drawing/2014/main" id="{7EE800A5-7934-49E8-9FF5-8EA7A77CCA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9" name="Freeform 18">
              <a:extLst>
                <a:ext uri="{FF2B5EF4-FFF2-40B4-BE49-F238E27FC236}">
                  <a16:creationId xmlns:a16="http://schemas.microsoft.com/office/drawing/2014/main" id="{99919049-D950-4E9E-A197-BD81D51FB4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0" name="Freeform 19">
              <a:extLst>
                <a:ext uri="{FF2B5EF4-FFF2-40B4-BE49-F238E27FC236}">
                  <a16:creationId xmlns:a16="http://schemas.microsoft.com/office/drawing/2014/main" id="{7A640A35-0634-4737-BDBA-3B485EDBCA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Freeform 20">
              <a:extLst>
                <a:ext uri="{FF2B5EF4-FFF2-40B4-BE49-F238E27FC236}">
                  <a16:creationId xmlns:a16="http://schemas.microsoft.com/office/drawing/2014/main" id="{CD6E32A7-D872-411E-A4DE-6F36742B05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Freeform 21">
              <a:extLst>
                <a:ext uri="{FF2B5EF4-FFF2-40B4-BE49-F238E27FC236}">
                  <a16:creationId xmlns:a16="http://schemas.microsoft.com/office/drawing/2014/main" id="{43582ACE-9D05-4DB7-A7AF-17A8697436F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Freeform 22">
              <a:extLst>
                <a:ext uri="{FF2B5EF4-FFF2-40B4-BE49-F238E27FC236}">
                  <a16:creationId xmlns:a16="http://schemas.microsoft.com/office/drawing/2014/main" id="{FFE4E0E0-5FB1-4235-B15D-35FE11694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Freeform 23">
              <a:extLst>
                <a:ext uri="{FF2B5EF4-FFF2-40B4-BE49-F238E27FC236}">
                  <a16:creationId xmlns:a16="http://schemas.microsoft.com/office/drawing/2014/main" id="{FED6FF02-4822-43CF-8285-CB0E95E85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5" name="Freeform 24">
              <a:extLst>
                <a:ext uri="{FF2B5EF4-FFF2-40B4-BE49-F238E27FC236}">
                  <a16:creationId xmlns:a16="http://schemas.microsoft.com/office/drawing/2014/main" id="{511E1BB0-E678-42B6-B5E7-0B33ADCE4B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Freeform 25">
              <a:extLst>
                <a:ext uri="{FF2B5EF4-FFF2-40B4-BE49-F238E27FC236}">
                  <a16:creationId xmlns:a16="http://schemas.microsoft.com/office/drawing/2014/main" id="{B5D36FD6-1670-450C-8A5D-004C55E8A3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7" name="Freeform 26">
              <a:extLst>
                <a:ext uri="{FF2B5EF4-FFF2-40B4-BE49-F238E27FC236}">
                  <a16:creationId xmlns:a16="http://schemas.microsoft.com/office/drawing/2014/main" id="{B27713E4-DC81-4EDF-A0BB-43188951B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8" name="Freeform 27">
              <a:extLst>
                <a:ext uri="{FF2B5EF4-FFF2-40B4-BE49-F238E27FC236}">
                  <a16:creationId xmlns:a16="http://schemas.microsoft.com/office/drawing/2014/main" id="{BD79DD85-856B-4B00-B592-3D65C686FA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9" name="Freeform 28">
              <a:extLst>
                <a:ext uri="{FF2B5EF4-FFF2-40B4-BE49-F238E27FC236}">
                  <a16:creationId xmlns:a16="http://schemas.microsoft.com/office/drawing/2014/main" id="{3B664FB2-A373-4BDB-BAFB-78A466323F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Freeform 29">
              <a:extLst>
                <a:ext uri="{FF2B5EF4-FFF2-40B4-BE49-F238E27FC236}">
                  <a16:creationId xmlns:a16="http://schemas.microsoft.com/office/drawing/2014/main" id="{050F5A05-7152-430E-AE36-336AECA86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1" name="Freeform 30">
              <a:extLst>
                <a:ext uri="{FF2B5EF4-FFF2-40B4-BE49-F238E27FC236}">
                  <a16:creationId xmlns:a16="http://schemas.microsoft.com/office/drawing/2014/main" id="{96ED083A-1182-4CDD-BF7C-AFBBF11D28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B9032B46-C6D2-4B2D-90AE-DAC9E3962D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" name="Freeform 32">
              <a:extLst>
                <a:ext uri="{FF2B5EF4-FFF2-40B4-BE49-F238E27FC236}">
                  <a16:creationId xmlns:a16="http://schemas.microsoft.com/office/drawing/2014/main" id="{DA4892E9-B374-4A71-81F4-9C974A49A5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Freeform 33">
              <a:extLst>
                <a:ext uri="{FF2B5EF4-FFF2-40B4-BE49-F238E27FC236}">
                  <a16:creationId xmlns:a16="http://schemas.microsoft.com/office/drawing/2014/main" id="{B706A204-F12C-49D9-B4E4-8AA13855EC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34">
              <a:extLst>
                <a:ext uri="{FF2B5EF4-FFF2-40B4-BE49-F238E27FC236}">
                  <a16:creationId xmlns:a16="http://schemas.microsoft.com/office/drawing/2014/main" id="{B8CAAF18-B205-40A1-8E1D-D13ED18F32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8" name="Freeform 35">
              <a:extLst>
                <a:ext uri="{FF2B5EF4-FFF2-40B4-BE49-F238E27FC236}">
                  <a16:creationId xmlns:a16="http://schemas.microsoft.com/office/drawing/2014/main" id="{85040068-0037-4559-9382-13DE422BE5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Freeform 36">
              <a:extLst>
                <a:ext uri="{FF2B5EF4-FFF2-40B4-BE49-F238E27FC236}">
                  <a16:creationId xmlns:a16="http://schemas.microsoft.com/office/drawing/2014/main" id="{D456203D-7981-4B67-BB22-157A24587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37">
              <a:extLst>
                <a:ext uri="{FF2B5EF4-FFF2-40B4-BE49-F238E27FC236}">
                  <a16:creationId xmlns:a16="http://schemas.microsoft.com/office/drawing/2014/main" id="{6C6AFB6B-BF0A-4B92-829A-05B93A191F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38">
              <a:extLst>
                <a:ext uri="{FF2B5EF4-FFF2-40B4-BE49-F238E27FC236}">
                  <a16:creationId xmlns:a16="http://schemas.microsoft.com/office/drawing/2014/main" id="{1A317769-7176-40EA-B0BA-F5B305D0AF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39">
              <a:extLst>
                <a:ext uri="{FF2B5EF4-FFF2-40B4-BE49-F238E27FC236}">
                  <a16:creationId xmlns:a16="http://schemas.microsoft.com/office/drawing/2014/main" id="{3098F491-75E5-4CBF-A6E9-128B5DCD79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40">
              <a:extLst>
                <a:ext uri="{FF2B5EF4-FFF2-40B4-BE49-F238E27FC236}">
                  <a16:creationId xmlns:a16="http://schemas.microsoft.com/office/drawing/2014/main" id="{8A48B8EA-A9B6-47F7-933C-F993756706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Freeform 41">
              <a:extLst>
                <a:ext uri="{FF2B5EF4-FFF2-40B4-BE49-F238E27FC236}">
                  <a16:creationId xmlns:a16="http://schemas.microsoft.com/office/drawing/2014/main" id="{D43036B4-05CD-4276-B218-40241FADB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Freeform 42">
              <a:extLst>
                <a:ext uri="{FF2B5EF4-FFF2-40B4-BE49-F238E27FC236}">
                  <a16:creationId xmlns:a16="http://schemas.microsoft.com/office/drawing/2014/main" id="{0C7E68D0-20B1-43AD-9E76-514920928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Freeform 43">
              <a:extLst>
                <a:ext uri="{FF2B5EF4-FFF2-40B4-BE49-F238E27FC236}">
                  <a16:creationId xmlns:a16="http://schemas.microsoft.com/office/drawing/2014/main" id="{2F3C3678-4028-460C-A4AF-9037A4E7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Freeform 44">
              <a:extLst>
                <a:ext uri="{FF2B5EF4-FFF2-40B4-BE49-F238E27FC236}">
                  <a16:creationId xmlns:a16="http://schemas.microsoft.com/office/drawing/2014/main" id="{E50F3136-1C56-46ED-9F74-D35D0A5EA1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45">
              <a:extLst>
                <a:ext uri="{FF2B5EF4-FFF2-40B4-BE49-F238E27FC236}">
                  <a16:creationId xmlns:a16="http://schemas.microsoft.com/office/drawing/2014/main" id="{1C36D463-1090-48ED-85C1-C899A23708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46">
              <a:extLst>
                <a:ext uri="{FF2B5EF4-FFF2-40B4-BE49-F238E27FC236}">
                  <a16:creationId xmlns:a16="http://schemas.microsoft.com/office/drawing/2014/main" id="{23EB6706-63CE-427D-BED7-784C47E171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Freeform 47">
              <a:extLst>
                <a:ext uri="{FF2B5EF4-FFF2-40B4-BE49-F238E27FC236}">
                  <a16:creationId xmlns:a16="http://schemas.microsoft.com/office/drawing/2014/main" id="{4616AD23-0FEB-4278-9157-62DD9342E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48">
              <a:extLst>
                <a:ext uri="{FF2B5EF4-FFF2-40B4-BE49-F238E27FC236}">
                  <a16:creationId xmlns:a16="http://schemas.microsoft.com/office/drawing/2014/main" id="{CD7E443D-0814-42B6-ABF3-6E31069676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49">
              <a:extLst>
                <a:ext uri="{FF2B5EF4-FFF2-40B4-BE49-F238E27FC236}">
                  <a16:creationId xmlns:a16="http://schemas.microsoft.com/office/drawing/2014/main" id="{7952AEC2-3116-4DC1-B80C-B35BD53B37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50">
              <a:extLst>
                <a:ext uri="{FF2B5EF4-FFF2-40B4-BE49-F238E27FC236}">
                  <a16:creationId xmlns:a16="http://schemas.microsoft.com/office/drawing/2014/main" id="{550F490E-0B1F-4826-84DF-E13D99D15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Rectangle 51">
              <a:extLst>
                <a:ext uri="{FF2B5EF4-FFF2-40B4-BE49-F238E27FC236}">
                  <a16:creationId xmlns:a16="http://schemas.microsoft.com/office/drawing/2014/main" id="{BE7BB47A-1203-4A1A-911A-253FEF7C95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5" name="Freeform 52">
              <a:extLst>
                <a:ext uri="{FF2B5EF4-FFF2-40B4-BE49-F238E27FC236}">
                  <a16:creationId xmlns:a16="http://schemas.microsoft.com/office/drawing/2014/main" id="{B5C18F47-16E9-4DF8-B09E-45780EE464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53">
              <a:extLst>
                <a:ext uri="{FF2B5EF4-FFF2-40B4-BE49-F238E27FC236}">
                  <a16:creationId xmlns:a16="http://schemas.microsoft.com/office/drawing/2014/main" id="{FC8D3C5E-5C3A-4076-A30E-3AF212E0A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Oval 54">
              <a:extLst>
                <a:ext uri="{FF2B5EF4-FFF2-40B4-BE49-F238E27FC236}">
                  <a16:creationId xmlns:a16="http://schemas.microsoft.com/office/drawing/2014/main" id="{73402B95-F3AE-4D45-A22D-C115B68D7A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Rectangle 55">
              <a:extLst>
                <a:ext uri="{FF2B5EF4-FFF2-40B4-BE49-F238E27FC236}">
                  <a16:creationId xmlns:a16="http://schemas.microsoft.com/office/drawing/2014/main" id="{322A8EE5-CB90-4F2A-B4F6-CB64F2346D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9" name="Rectangle 56">
              <a:extLst>
                <a:ext uri="{FF2B5EF4-FFF2-40B4-BE49-F238E27FC236}">
                  <a16:creationId xmlns:a16="http://schemas.microsoft.com/office/drawing/2014/main" id="{C1E70744-1EC3-405C-BDC8-0A723459B8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57">
              <a:extLst>
                <a:ext uri="{FF2B5EF4-FFF2-40B4-BE49-F238E27FC236}">
                  <a16:creationId xmlns:a16="http://schemas.microsoft.com/office/drawing/2014/main" id="{5D628981-7070-4DF5-8E87-996A49308B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58">
              <a:extLst>
                <a:ext uri="{FF2B5EF4-FFF2-40B4-BE49-F238E27FC236}">
                  <a16:creationId xmlns:a16="http://schemas.microsoft.com/office/drawing/2014/main" id="{6FEDA4D5-A9D3-435D-95CE-1AC8211E4A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Oval 59">
              <a:extLst>
                <a:ext uri="{FF2B5EF4-FFF2-40B4-BE49-F238E27FC236}">
                  <a16:creationId xmlns:a16="http://schemas.microsoft.com/office/drawing/2014/main" id="{1AF21477-56B3-40C7-A429-C815B4A793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Oval 60">
              <a:extLst>
                <a:ext uri="{FF2B5EF4-FFF2-40B4-BE49-F238E27FC236}">
                  <a16:creationId xmlns:a16="http://schemas.microsoft.com/office/drawing/2014/main" id="{E17C7682-4C4F-4C58-AB3D-A16C794A3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Oval 61">
              <a:extLst>
                <a:ext uri="{FF2B5EF4-FFF2-40B4-BE49-F238E27FC236}">
                  <a16:creationId xmlns:a16="http://schemas.microsoft.com/office/drawing/2014/main" id="{65DE27F5-EBB9-4A15-8B77-3358BBA81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Oval 62">
              <a:extLst>
                <a:ext uri="{FF2B5EF4-FFF2-40B4-BE49-F238E27FC236}">
                  <a16:creationId xmlns:a16="http://schemas.microsoft.com/office/drawing/2014/main" id="{FB4D0C75-9953-408D-8D33-4F1C5D2881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63">
              <a:extLst>
                <a:ext uri="{FF2B5EF4-FFF2-40B4-BE49-F238E27FC236}">
                  <a16:creationId xmlns:a16="http://schemas.microsoft.com/office/drawing/2014/main" id="{3BA990FB-9376-48CE-8B70-DFA5A7FCC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7" name="Rectangle 64">
              <a:extLst>
                <a:ext uri="{FF2B5EF4-FFF2-40B4-BE49-F238E27FC236}">
                  <a16:creationId xmlns:a16="http://schemas.microsoft.com/office/drawing/2014/main" id="{1D53A05E-4B98-4B99-9C5E-D1FF3835AE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Rectangle 65">
              <a:extLst>
                <a:ext uri="{FF2B5EF4-FFF2-40B4-BE49-F238E27FC236}">
                  <a16:creationId xmlns:a16="http://schemas.microsoft.com/office/drawing/2014/main" id="{EB6CCAFD-FB4C-4DC9-B2FB-9F15C4C12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Freeform 66">
              <a:extLst>
                <a:ext uri="{FF2B5EF4-FFF2-40B4-BE49-F238E27FC236}">
                  <a16:creationId xmlns:a16="http://schemas.microsoft.com/office/drawing/2014/main" id="{0085A7A0-DF5E-49AB-8DA9-04FF2B0A6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Rectangle 67">
              <a:extLst>
                <a:ext uri="{FF2B5EF4-FFF2-40B4-BE49-F238E27FC236}">
                  <a16:creationId xmlns:a16="http://schemas.microsoft.com/office/drawing/2014/main" id="{15F14B2B-EA36-4B0E-AA1C-4E22DC41D4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68">
              <a:extLst>
                <a:ext uri="{FF2B5EF4-FFF2-40B4-BE49-F238E27FC236}">
                  <a16:creationId xmlns:a16="http://schemas.microsoft.com/office/drawing/2014/main" id="{E011B4D3-240B-4C90-A8DD-7C49F56220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Rectangle 69">
              <a:extLst>
                <a:ext uri="{FF2B5EF4-FFF2-40B4-BE49-F238E27FC236}">
                  <a16:creationId xmlns:a16="http://schemas.microsoft.com/office/drawing/2014/main" id="{0B6297DA-F158-4DD4-A3FF-02DE240C2E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Rectangle 70">
              <a:extLst>
                <a:ext uri="{FF2B5EF4-FFF2-40B4-BE49-F238E27FC236}">
                  <a16:creationId xmlns:a16="http://schemas.microsoft.com/office/drawing/2014/main" id="{FA360226-9F94-4702-8C16-03CD278889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4" name="Freeform 71">
              <a:extLst>
                <a:ext uri="{FF2B5EF4-FFF2-40B4-BE49-F238E27FC236}">
                  <a16:creationId xmlns:a16="http://schemas.microsoft.com/office/drawing/2014/main" id="{763FE686-6A73-48D6-9D99-7D32A2D747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Freeform 72">
              <a:extLst>
                <a:ext uri="{FF2B5EF4-FFF2-40B4-BE49-F238E27FC236}">
                  <a16:creationId xmlns:a16="http://schemas.microsoft.com/office/drawing/2014/main" id="{B835EDEC-8B5C-421A-AFF0-9DF4033427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73">
              <a:extLst>
                <a:ext uri="{FF2B5EF4-FFF2-40B4-BE49-F238E27FC236}">
                  <a16:creationId xmlns:a16="http://schemas.microsoft.com/office/drawing/2014/main" id="{51234B50-B990-4082-BFF5-372CBB160D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Rectangle 74">
              <a:extLst>
                <a:ext uri="{FF2B5EF4-FFF2-40B4-BE49-F238E27FC236}">
                  <a16:creationId xmlns:a16="http://schemas.microsoft.com/office/drawing/2014/main" id="{6CCD3D96-B200-4FB3-A2C3-7362BF56A9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Rectangle 75">
              <a:extLst>
                <a:ext uri="{FF2B5EF4-FFF2-40B4-BE49-F238E27FC236}">
                  <a16:creationId xmlns:a16="http://schemas.microsoft.com/office/drawing/2014/main" id="{5E433D9C-D415-49FA-A87A-92845F1171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76">
              <a:extLst>
                <a:ext uri="{FF2B5EF4-FFF2-40B4-BE49-F238E27FC236}">
                  <a16:creationId xmlns:a16="http://schemas.microsoft.com/office/drawing/2014/main" id="{A0D54C1C-1249-4590-A348-37D404AAE0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Rectangle 77">
              <a:extLst>
                <a:ext uri="{FF2B5EF4-FFF2-40B4-BE49-F238E27FC236}">
                  <a16:creationId xmlns:a16="http://schemas.microsoft.com/office/drawing/2014/main" id="{AF8919B0-0529-4DCC-8FAF-9512A8F7C2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Rectangle 78">
              <a:extLst>
                <a:ext uri="{FF2B5EF4-FFF2-40B4-BE49-F238E27FC236}">
                  <a16:creationId xmlns:a16="http://schemas.microsoft.com/office/drawing/2014/main" id="{FB6A5A4D-9D73-4916-97E5-148C78FF3B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79">
              <a:extLst>
                <a:ext uri="{FF2B5EF4-FFF2-40B4-BE49-F238E27FC236}">
                  <a16:creationId xmlns:a16="http://schemas.microsoft.com/office/drawing/2014/main" id="{E1101B5B-AE21-433A-91F9-980B8B3F6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Rectangle 80">
              <a:extLst>
                <a:ext uri="{FF2B5EF4-FFF2-40B4-BE49-F238E27FC236}">
                  <a16:creationId xmlns:a16="http://schemas.microsoft.com/office/drawing/2014/main" id="{2393B4C9-1807-4B55-B212-A537EBFE5B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4" name="Rectangle 81">
              <a:extLst>
                <a:ext uri="{FF2B5EF4-FFF2-40B4-BE49-F238E27FC236}">
                  <a16:creationId xmlns:a16="http://schemas.microsoft.com/office/drawing/2014/main" id="{33B2DC4E-DD56-4673-ADE7-776D39F3A3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5" name="Freeform 82">
              <a:extLst>
                <a:ext uri="{FF2B5EF4-FFF2-40B4-BE49-F238E27FC236}">
                  <a16:creationId xmlns:a16="http://schemas.microsoft.com/office/drawing/2014/main" id="{6375BD53-AA91-4941-9859-BE63319D29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Freeform 83">
              <a:extLst>
                <a:ext uri="{FF2B5EF4-FFF2-40B4-BE49-F238E27FC236}">
                  <a16:creationId xmlns:a16="http://schemas.microsoft.com/office/drawing/2014/main" id="{44F399A8-A282-4D26-B500-31F6B32E5F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Rectangle 84">
              <a:extLst>
                <a:ext uri="{FF2B5EF4-FFF2-40B4-BE49-F238E27FC236}">
                  <a16:creationId xmlns:a16="http://schemas.microsoft.com/office/drawing/2014/main" id="{FA982A9B-6CC7-42FF-A59C-77209CB381F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Rectangle 85">
              <a:extLst>
                <a:ext uri="{FF2B5EF4-FFF2-40B4-BE49-F238E27FC236}">
                  <a16:creationId xmlns:a16="http://schemas.microsoft.com/office/drawing/2014/main" id="{0BDD4417-FD44-4426-B46A-18C09BC3CE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Oval 86">
              <a:extLst>
                <a:ext uri="{FF2B5EF4-FFF2-40B4-BE49-F238E27FC236}">
                  <a16:creationId xmlns:a16="http://schemas.microsoft.com/office/drawing/2014/main" id="{74965507-D2F5-48DF-A55C-2DAE47ED04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Freeform 87">
              <a:extLst>
                <a:ext uri="{FF2B5EF4-FFF2-40B4-BE49-F238E27FC236}">
                  <a16:creationId xmlns:a16="http://schemas.microsoft.com/office/drawing/2014/main" id="{A1D68577-EF56-4694-A854-0C65F3DB29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88">
              <a:extLst>
                <a:ext uri="{FF2B5EF4-FFF2-40B4-BE49-F238E27FC236}">
                  <a16:creationId xmlns:a16="http://schemas.microsoft.com/office/drawing/2014/main" id="{36DCD737-9EB6-428B-98E3-C6A066452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Oval 89">
              <a:extLst>
                <a:ext uri="{FF2B5EF4-FFF2-40B4-BE49-F238E27FC236}">
                  <a16:creationId xmlns:a16="http://schemas.microsoft.com/office/drawing/2014/main" id="{17A7B6E3-5800-4C00-A284-CD1362C2DF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Oval 90">
              <a:extLst>
                <a:ext uri="{FF2B5EF4-FFF2-40B4-BE49-F238E27FC236}">
                  <a16:creationId xmlns:a16="http://schemas.microsoft.com/office/drawing/2014/main" id="{7E2B5438-DE74-4C6C-9600-4F3D19ED0B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Oval 91">
              <a:extLst>
                <a:ext uri="{FF2B5EF4-FFF2-40B4-BE49-F238E27FC236}">
                  <a16:creationId xmlns:a16="http://schemas.microsoft.com/office/drawing/2014/main" id="{86DE78A3-6C8E-4DE7-952F-3F98F6A461D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5" name="Oval 92">
              <a:extLst>
                <a:ext uri="{FF2B5EF4-FFF2-40B4-BE49-F238E27FC236}">
                  <a16:creationId xmlns:a16="http://schemas.microsoft.com/office/drawing/2014/main" id="{36F3CF02-25A6-4C70-83C1-133AFC736C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6" name="Oval 93">
              <a:extLst>
                <a:ext uri="{FF2B5EF4-FFF2-40B4-BE49-F238E27FC236}">
                  <a16:creationId xmlns:a16="http://schemas.microsoft.com/office/drawing/2014/main" id="{247C32B3-8300-427D-AFB0-737F6152DA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7" name="Oval 94">
              <a:extLst>
                <a:ext uri="{FF2B5EF4-FFF2-40B4-BE49-F238E27FC236}">
                  <a16:creationId xmlns:a16="http://schemas.microsoft.com/office/drawing/2014/main" id="{F87C5AD9-CA48-4FC7-8AEB-A9FC4B5E02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Oval 95">
              <a:extLst>
                <a:ext uri="{FF2B5EF4-FFF2-40B4-BE49-F238E27FC236}">
                  <a16:creationId xmlns:a16="http://schemas.microsoft.com/office/drawing/2014/main" id="{589ADBDC-6943-4B8F-A019-B9024C5C40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Oval 96">
              <a:extLst>
                <a:ext uri="{FF2B5EF4-FFF2-40B4-BE49-F238E27FC236}">
                  <a16:creationId xmlns:a16="http://schemas.microsoft.com/office/drawing/2014/main" id="{70FEF975-ECAF-462F-AED6-2C0D993E4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Oval 97">
              <a:extLst>
                <a:ext uri="{FF2B5EF4-FFF2-40B4-BE49-F238E27FC236}">
                  <a16:creationId xmlns:a16="http://schemas.microsoft.com/office/drawing/2014/main" id="{4F072B6D-704D-4B60-9DB4-891E661D4B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Oval 98">
              <a:extLst>
                <a:ext uri="{FF2B5EF4-FFF2-40B4-BE49-F238E27FC236}">
                  <a16:creationId xmlns:a16="http://schemas.microsoft.com/office/drawing/2014/main" id="{8DD31024-ACE2-4744-83E5-8E6B3C490EC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Oval 99">
              <a:extLst>
                <a:ext uri="{FF2B5EF4-FFF2-40B4-BE49-F238E27FC236}">
                  <a16:creationId xmlns:a16="http://schemas.microsoft.com/office/drawing/2014/main" id="{4DCD3E6F-40F4-440E-91B6-DB7D6680F8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Oval 100">
              <a:extLst>
                <a:ext uri="{FF2B5EF4-FFF2-40B4-BE49-F238E27FC236}">
                  <a16:creationId xmlns:a16="http://schemas.microsoft.com/office/drawing/2014/main" id="{A2FE36BB-B003-4F0C-93BF-98D47C3382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Oval 101">
              <a:extLst>
                <a:ext uri="{FF2B5EF4-FFF2-40B4-BE49-F238E27FC236}">
                  <a16:creationId xmlns:a16="http://schemas.microsoft.com/office/drawing/2014/main" id="{64860F7D-0197-4B8A-ACC5-510FAD9DE4B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Freeform 102">
              <a:extLst>
                <a:ext uri="{FF2B5EF4-FFF2-40B4-BE49-F238E27FC236}">
                  <a16:creationId xmlns:a16="http://schemas.microsoft.com/office/drawing/2014/main" id="{55E53135-B841-49D5-9535-ED63A56F4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103">
              <a:extLst>
                <a:ext uri="{FF2B5EF4-FFF2-40B4-BE49-F238E27FC236}">
                  <a16:creationId xmlns:a16="http://schemas.microsoft.com/office/drawing/2014/main" id="{DCA7AB33-116B-405D-9DB0-9A6C386F41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104">
              <a:extLst>
                <a:ext uri="{FF2B5EF4-FFF2-40B4-BE49-F238E27FC236}">
                  <a16:creationId xmlns:a16="http://schemas.microsoft.com/office/drawing/2014/main" id="{A5B01B09-4DD9-467E-8845-75C9058810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Freeform 105">
              <a:extLst>
                <a:ext uri="{FF2B5EF4-FFF2-40B4-BE49-F238E27FC236}">
                  <a16:creationId xmlns:a16="http://schemas.microsoft.com/office/drawing/2014/main" id="{F526701D-5902-4F23-ACB1-00BC9EF115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Freeform 106">
              <a:extLst>
                <a:ext uri="{FF2B5EF4-FFF2-40B4-BE49-F238E27FC236}">
                  <a16:creationId xmlns:a16="http://schemas.microsoft.com/office/drawing/2014/main" id="{85A741FC-C7C7-463C-9A07-497E762C2A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107">
              <a:extLst>
                <a:ext uri="{FF2B5EF4-FFF2-40B4-BE49-F238E27FC236}">
                  <a16:creationId xmlns:a16="http://schemas.microsoft.com/office/drawing/2014/main" id="{F99CC46F-CE0D-45A5-AAB1-7E9DA5EF35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Freeform 108">
              <a:extLst>
                <a:ext uri="{FF2B5EF4-FFF2-40B4-BE49-F238E27FC236}">
                  <a16:creationId xmlns:a16="http://schemas.microsoft.com/office/drawing/2014/main" id="{9A94111F-7877-432F-B689-13811EFF01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109">
              <a:extLst>
                <a:ext uri="{FF2B5EF4-FFF2-40B4-BE49-F238E27FC236}">
                  <a16:creationId xmlns:a16="http://schemas.microsoft.com/office/drawing/2014/main" id="{1A93C9E2-11ED-4C23-A142-857DE040C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110">
              <a:extLst>
                <a:ext uri="{FF2B5EF4-FFF2-40B4-BE49-F238E27FC236}">
                  <a16:creationId xmlns:a16="http://schemas.microsoft.com/office/drawing/2014/main" id="{8C3004B5-3916-45E4-968B-508B31E9E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4" name="Freeform 111">
              <a:extLst>
                <a:ext uri="{FF2B5EF4-FFF2-40B4-BE49-F238E27FC236}">
                  <a16:creationId xmlns:a16="http://schemas.microsoft.com/office/drawing/2014/main" id="{50902076-A25A-42CF-8147-E60461102B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Freeform 112">
              <a:extLst>
                <a:ext uri="{FF2B5EF4-FFF2-40B4-BE49-F238E27FC236}">
                  <a16:creationId xmlns:a16="http://schemas.microsoft.com/office/drawing/2014/main" id="{A61C8919-D7E5-4086-AC7C-60E673999B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Oval 113">
              <a:extLst>
                <a:ext uri="{FF2B5EF4-FFF2-40B4-BE49-F238E27FC236}">
                  <a16:creationId xmlns:a16="http://schemas.microsoft.com/office/drawing/2014/main" id="{096AA497-FEEF-4918-832F-3AC24AC949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Oval 114">
              <a:extLst>
                <a:ext uri="{FF2B5EF4-FFF2-40B4-BE49-F238E27FC236}">
                  <a16:creationId xmlns:a16="http://schemas.microsoft.com/office/drawing/2014/main" id="{C9B40412-A883-40F8-9266-F99D73CDF8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Freeform 115">
              <a:extLst>
                <a:ext uri="{FF2B5EF4-FFF2-40B4-BE49-F238E27FC236}">
                  <a16:creationId xmlns:a16="http://schemas.microsoft.com/office/drawing/2014/main" id="{7B0926C0-0F96-4A5B-89E8-34E2A4AD4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9" name="Oval 116">
              <a:extLst>
                <a:ext uri="{FF2B5EF4-FFF2-40B4-BE49-F238E27FC236}">
                  <a16:creationId xmlns:a16="http://schemas.microsoft.com/office/drawing/2014/main" id="{B67DE966-B7E0-4F6C-98D4-D1B51A9412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7272314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702745C-F7D6-482F-980E-932E6627FA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570" y="1485233"/>
            <a:ext cx="12223941" cy="537276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8301CE0-BBF5-4CB8-AB47-A9627B3B05D5}"/>
              </a:ext>
            </a:extLst>
          </p:cNvPr>
          <p:cNvSpPr/>
          <p:nvPr userDrawn="1"/>
        </p:nvSpPr>
        <p:spPr>
          <a:xfrm>
            <a:off x="-2762082" y="1170022"/>
            <a:ext cx="12212118" cy="5384087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3655359" y="1971006"/>
            <a:ext cx="11086167" cy="7009095"/>
            <a:chOff x="1285" y="544"/>
            <a:chExt cx="5112" cy="3232"/>
          </a:xfrm>
          <a:solidFill>
            <a:schemeClr val="bg2">
              <a:alpha val="6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2462052" y="4019055"/>
            <a:ext cx="15664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LARGEST BEE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1963539" y="5117604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STRATEGY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3562633" y="6037237"/>
            <a:ext cx="1909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TOMORROW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5701850" y="4948264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PERFORMANCE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6752487" y="5733716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5212273" y="2734806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4952778" y="4234288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FU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399" y="142050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0399" y="835083"/>
            <a:ext cx="9144000" cy="477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A4DA07D-AC88-41A8-9985-D209010B9768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3" name="Picture 202">
            <a:extLst>
              <a:ext uri="{FF2B5EF4-FFF2-40B4-BE49-F238E27FC236}">
                <a16:creationId xmlns:a16="http://schemas.microsoft.com/office/drawing/2014/main" id="{D87189DC-AC10-4C24-B3E2-70DE9A34D4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8773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01A666C2-5ECB-404B-A128-46FF2A9934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749723EA-12F9-4659-95D8-F453ECD30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8550" y="6426421"/>
            <a:ext cx="598488" cy="365125"/>
          </a:xfrm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fld id="{D13DE82C-19FF-4122-931F-2BD77445347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4144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87C97E-889A-476E-98C5-210B15C5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8550" y="6426421"/>
            <a:ext cx="598488" cy="365125"/>
          </a:xfrm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fld id="{D13DE82C-19FF-4122-931F-2BD77445347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17329DE-7781-4876-9FF3-32A120439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42887"/>
            <a:ext cx="10681380" cy="809625"/>
          </a:xfrm>
        </p:spPr>
        <p:txBody>
          <a:bodyPr anchor="t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704E33D-EE75-4E73-A004-5F9C94D11C6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34963" y="1844674"/>
            <a:ext cx="11522075" cy="4500563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5C8B45-C24C-4AE5-AF02-C9CC31D42F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B23013-986F-4C87-9D07-CD178CBFCF7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1133695"/>
            <a:ext cx="11166475" cy="566517"/>
          </a:xfrm>
        </p:spPr>
        <p:txBody>
          <a:bodyPr anchor="t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s-AR" dirty="0"/>
          </a:p>
        </p:txBody>
      </p:sp>
    </p:spTree>
    <p:extLst>
      <p:ext uri="{BB962C8B-B14F-4D97-AF65-F5344CB8AC3E}">
        <p14:creationId xmlns:p14="http://schemas.microsoft.com/office/powerpoint/2010/main" val="1787821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B58C9AD-45CF-4A07-A65A-A7B22F5CD5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2AC520-2E2E-4DD0-8FB2-433AFBB111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58550" y="6426421"/>
            <a:ext cx="598488" cy="365125"/>
          </a:xfrm>
        </p:spPr>
        <p:txBody>
          <a:bodyPr/>
          <a:lstStyle>
            <a:lvl1pPr>
              <a:defRPr sz="1100">
                <a:solidFill>
                  <a:schemeClr val="tx2"/>
                </a:solidFill>
              </a:defRPr>
            </a:lvl1pPr>
          </a:lstStyle>
          <a:p>
            <a:fld id="{D13DE82C-19FF-4122-931F-2BD77445347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8849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E2B08A-7404-4B96-9DCB-FBF89786EE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8D670-0FFB-4F77-B77F-E96657E913BF}" type="datetimeFigureOut">
              <a:rPr lang="en-US" smtClean="0"/>
              <a:t>11/6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5401EC-FFEB-48AA-9A6D-0C928B71C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87C97E-889A-476E-98C5-210B15C5D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197486-75E3-4AE5-9307-8E580ED5D5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2459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488FBE3-3DC1-4F35-8574-FACA54B5F4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716" y="1456535"/>
            <a:ext cx="12193079" cy="5426551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6F7FE855-E2AB-4AF1-9BDC-4572A5B72FCB}"/>
              </a:ext>
            </a:extLst>
          </p:cNvPr>
          <p:cNvSpPr/>
          <p:nvPr userDrawn="1"/>
        </p:nvSpPr>
        <p:spPr>
          <a:xfrm>
            <a:off x="-10309" y="1483115"/>
            <a:ext cx="12192000" cy="5403324"/>
          </a:xfrm>
          <a:prstGeom prst="rect">
            <a:avLst/>
          </a:prstGeom>
          <a:solidFill>
            <a:schemeClr val="accent6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3647798" y="3661114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LEADERSHIP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2926589" y="4759663"/>
            <a:ext cx="15528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INNOVATION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5007829" y="5688456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INING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855401" y="4590323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906038" y="537577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365824" y="237686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MACROECONOMIC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106329" y="3876347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22132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250A207-9EBE-451D-8910-76E03AFE2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83783"/>
            <a:ext cx="12216447" cy="5374217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1250843A-7FA1-4A4D-A37F-7F9F55EF4E18}"/>
              </a:ext>
            </a:extLst>
          </p:cNvPr>
          <p:cNvSpPr/>
          <p:nvPr userDrawn="1"/>
        </p:nvSpPr>
        <p:spPr>
          <a:xfrm>
            <a:off x="-1868470" y="842194"/>
            <a:ext cx="12192000" cy="5367249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4025207" y="3697228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VOLUME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3932926" y="5351335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SAFETY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4911920" y="5705201"/>
            <a:ext cx="17067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PRODUCT</a:t>
            </a:r>
          </a:p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IX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085812" y="4401620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spc="300" dirty="0">
                <a:solidFill>
                  <a:schemeClr val="bg1">
                    <a:alpha val="70000"/>
                  </a:schemeClr>
                </a:solidFill>
              </a:rPr>
              <a:t>MARKETS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951474" y="5214415"/>
            <a:ext cx="2967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OPERATIONAL EXCELLENC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285170" y="2358422"/>
            <a:ext cx="24297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50" b="0" spc="70" baseline="0" dirty="0">
                <a:solidFill>
                  <a:schemeClr val="bg1">
                    <a:alpha val="70000"/>
                  </a:schemeClr>
                </a:solidFill>
              </a:rPr>
              <a:t>MAJOR PROJECTS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422180" y="3465107"/>
            <a:ext cx="2967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>
                    <a:alpha val="70000"/>
                  </a:schemeClr>
                </a:solidFill>
              </a:rPr>
              <a:t>VALU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17244973-3728-4418-9588-8665CFDF78A1}"/>
              </a:ext>
            </a:extLst>
          </p:cNvPr>
          <p:cNvSpPr txBox="1"/>
          <p:nvPr userDrawn="1"/>
        </p:nvSpPr>
        <p:spPr>
          <a:xfrm>
            <a:off x="3430549" y="2381521"/>
            <a:ext cx="24297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spc="70" baseline="0" dirty="0" err="1">
                <a:solidFill>
                  <a:schemeClr val="bg1">
                    <a:alpha val="70000"/>
                  </a:schemeClr>
                </a:solidFill>
              </a:rPr>
              <a:t>digital@exxaro</a:t>
            </a:r>
            <a:endParaRPr lang="en-US" sz="2000" b="0" spc="70" baseline="0" dirty="0">
              <a:solidFill>
                <a:schemeClr val="bg1">
                  <a:alpha val="7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095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5E71032-C8C5-4A5C-BF52-059A95866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"/>
          <a:stretch/>
        </p:blipFill>
        <p:spPr>
          <a:xfrm>
            <a:off x="-10309" y="1487455"/>
            <a:ext cx="12197926" cy="5375261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E946AF62-DF3D-42F4-82A7-6A0E016EDB9D}"/>
              </a:ext>
            </a:extLst>
          </p:cNvPr>
          <p:cNvSpPr/>
          <p:nvPr userDrawn="1"/>
        </p:nvSpPr>
        <p:spPr>
          <a:xfrm>
            <a:off x="-1482" y="1454676"/>
            <a:ext cx="9782286" cy="5403324"/>
          </a:xfrm>
          <a:prstGeom prst="rect">
            <a:avLst/>
          </a:prstGeom>
          <a:solidFill>
            <a:schemeClr val="accent6">
              <a:lumMod val="5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rgbClr val="768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4697221" y="3221034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EARNING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6093335" y="3985574"/>
            <a:ext cx="16829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INVESTMENT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3420358" y="2541802"/>
            <a:ext cx="16951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spc="300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184170" y="4956680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MARKETS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440416" y="2377989"/>
            <a:ext cx="2090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PERFORMANCE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452868" y="3163877"/>
            <a:ext cx="4167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>
                    <a:alpha val="70000"/>
                  </a:schemeClr>
                </a:solidFill>
              </a:rPr>
              <a:t>CAPITAL ALLOC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1F73B22E-B183-4DC4-8206-43F23F251027}"/>
              </a:ext>
            </a:extLst>
          </p:cNvPr>
          <p:cNvSpPr txBox="1"/>
          <p:nvPr userDrawn="1"/>
        </p:nvSpPr>
        <p:spPr>
          <a:xfrm>
            <a:off x="5746723" y="4527077"/>
            <a:ext cx="12827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spc="140" baseline="0" dirty="0">
                <a:solidFill>
                  <a:schemeClr val="bg1">
                    <a:alpha val="70000"/>
                  </a:schemeClr>
                </a:solidFill>
              </a:rPr>
              <a:t>PRIC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F7BDBAC5-867D-4D77-B8A1-3F64734A0468}"/>
              </a:ext>
            </a:extLst>
          </p:cNvPr>
          <p:cNvSpPr txBox="1"/>
          <p:nvPr userDrawn="1"/>
        </p:nvSpPr>
        <p:spPr>
          <a:xfrm>
            <a:off x="3942778" y="5395286"/>
            <a:ext cx="1009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0170328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4FB68A9-249A-495B-8F27-BA4E12B373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17" y="1468601"/>
            <a:ext cx="12186679" cy="5388323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1308E62F-3C99-430E-8DD2-4F7C6C58CB19}"/>
              </a:ext>
            </a:extLst>
          </p:cNvPr>
          <p:cNvSpPr/>
          <p:nvPr userDrawn="1"/>
        </p:nvSpPr>
        <p:spPr>
          <a:xfrm>
            <a:off x="-10310" y="1433571"/>
            <a:ext cx="10115007" cy="5424429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4080062" y="3724740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GLOBAL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3489318" y="5352884"/>
            <a:ext cx="15875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INNOVATION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4901348" y="5730663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ARKET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094456" y="4526984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687710" y="5744263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365824" y="2378357"/>
            <a:ext cx="24733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0" spc="70" baseline="0" dirty="0">
                <a:solidFill>
                  <a:schemeClr val="bg1">
                    <a:alpha val="70000"/>
                  </a:schemeClr>
                </a:solidFill>
              </a:rPr>
              <a:t>OPTIMISATION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106329" y="3876347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655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6F2F62-D915-4209-87AF-14CCCCDE52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6F2F62-D915-4209-87AF-14CCCCDE5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Placeholder 5">
            <a:extLst>
              <a:ext uri="{FF2B5EF4-FFF2-40B4-BE49-F238E27FC236}">
                <a16:creationId xmlns:a16="http://schemas.microsoft.com/office/drawing/2014/main" id="{A13BBEBE-AC7F-42D0-8DAB-688D5D85E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2"/>
          <a:stretch/>
        </p:blipFill>
        <p:spPr>
          <a:xfrm>
            <a:off x="0" y="0"/>
            <a:ext cx="8718550" cy="6858000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D1CC3321-64F8-4120-9627-639B071FE28A}"/>
              </a:ext>
            </a:extLst>
          </p:cNvPr>
          <p:cNvGrpSpPr/>
          <p:nvPr userDrawn="1"/>
        </p:nvGrpSpPr>
        <p:grpSpPr>
          <a:xfrm rot="2700000">
            <a:off x="663578" y="-865"/>
            <a:ext cx="1554480" cy="1554480"/>
            <a:chOff x="2358572" y="1016001"/>
            <a:chExt cx="856342" cy="856342"/>
          </a:xfrm>
          <a:effectLst/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8B894F38-C2E7-4802-9B29-E78F4FFF53BA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90500">
              <a:solidFill>
                <a:schemeClr val="tx1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93F51E26-9AFB-4F04-BAEF-395A665F52C4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90500">
              <a:solidFill>
                <a:schemeClr val="tx1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AE837B1-CC8A-488F-857C-036BB7F7A25B}"/>
              </a:ext>
            </a:extLst>
          </p:cNvPr>
          <p:cNvGrpSpPr/>
          <p:nvPr userDrawn="1"/>
        </p:nvGrpSpPr>
        <p:grpSpPr>
          <a:xfrm rot="2700000">
            <a:off x="67023" y="245687"/>
            <a:ext cx="2743200" cy="2743200"/>
            <a:chOff x="2358572" y="1016001"/>
            <a:chExt cx="856342" cy="856342"/>
          </a:xfrm>
          <a:effectLst/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DD36D1A9-B417-40AA-AFFA-7629F543172A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381000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F000F8A-5B76-431D-927F-167AC1B00139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381000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589909B-2084-4CDA-9CDD-7F36CBC179EB}"/>
              </a:ext>
            </a:extLst>
          </p:cNvPr>
          <p:cNvGrpSpPr/>
          <p:nvPr userDrawn="1"/>
        </p:nvGrpSpPr>
        <p:grpSpPr>
          <a:xfrm rot="2700000">
            <a:off x="1816671" y="1880265"/>
            <a:ext cx="640080" cy="640080"/>
            <a:chOff x="2358572" y="1016001"/>
            <a:chExt cx="856342" cy="856342"/>
          </a:xfrm>
          <a:effectLst/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28D72D66-DD58-45C3-A2AC-BF3522BE1AB6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27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9A9489E3-EE3C-4D64-B12D-8F4959B9C5AC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27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4A41970-3E00-49D7-9BC6-09527F380A4E}"/>
              </a:ext>
            </a:extLst>
          </p:cNvPr>
          <p:cNvGrpSpPr/>
          <p:nvPr userDrawn="1"/>
        </p:nvGrpSpPr>
        <p:grpSpPr>
          <a:xfrm rot="2700000">
            <a:off x="2729379" y="450411"/>
            <a:ext cx="914400" cy="914400"/>
            <a:chOff x="2358572" y="1016001"/>
            <a:chExt cx="856342" cy="856342"/>
          </a:xfrm>
          <a:effectLst/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7A73F05-84D3-4C07-BE43-82428E71C9B3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AAD411F0-C8A5-4AF1-84A3-9A0882C197F8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E4C0BBE-7BAC-4234-8BEE-245AD7328447}"/>
              </a:ext>
            </a:extLst>
          </p:cNvPr>
          <p:cNvSpPr/>
          <p:nvPr userDrawn="1"/>
        </p:nvSpPr>
        <p:spPr>
          <a:xfrm>
            <a:off x="2043014" y="0"/>
            <a:ext cx="10148986" cy="6897049"/>
          </a:xfrm>
          <a:prstGeom prst="rect">
            <a:avLst/>
          </a:prstGeom>
          <a:gradFill>
            <a:gsLst>
              <a:gs pos="67000">
                <a:srgbClr val="414D5B"/>
              </a:gs>
              <a:gs pos="38000">
                <a:srgbClr val="79828B">
                  <a:alpha val="74000"/>
                </a:srgbClr>
              </a:gs>
              <a:gs pos="93000">
                <a:srgbClr val="212F3F"/>
              </a:gs>
              <a:gs pos="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143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2A026B5-A57B-4C9F-8D42-088484053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888" y="1487394"/>
            <a:ext cx="12202309" cy="5384532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856F86DB-776F-4B09-ACE9-0857017D112D}"/>
              </a:ext>
            </a:extLst>
          </p:cNvPr>
          <p:cNvSpPr/>
          <p:nvPr userDrawn="1"/>
        </p:nvSpPr>
        <p:spPr>
          <a:xfrm>
            <a:off x="-2271577" y="1430157"/>
            <a:ext cx="12192000" cy="5403324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rgbClr val="768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3647798" y="3661114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LEADERSHIP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3117090" y="4759663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5245626" y="5679296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INING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855401" y="4590323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906038" y="537577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365824" y="237686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MACROECONOMIC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106329" y="3876347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SKILL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0F36543C-2F1F-4F64-866D-27D15CA3ABC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grpSp>
        <p:nvGrpSpPr>
          <p:cNvPr id="173" name="Group 4">
            <a:extLst>
              <a:ext uri="{FF2B5EF4-FFF2-40B4-BE49-F238E27FC236}">
                <a16:creationId xmlns:a16="http://schemas.microsoft.com/office/drawing/2014/main" id="{C50C28B7-0D58-4C5A-B564-1A420F85A35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3655359" y="1971006"/>
            <a:ext cx="11086167" cy="7009095"/>
            <a:chOff x="1285" y="544"/>
            <a:chExt cx="5112" cy="3232"/>
          </a:xfrm>
          <a:solidFill>
            <a:schemeClr val="bg2">
              <a:alpha val="60000"/>
            </a:schemeClr>
          </a:solidFill>
        </p:grpSpPr>
        <p:sp>
          <p:nvSpPr>
            <p:cNvPr id="174" name="Freeform 5">
              <a:extLst>
                <a:ext uri="{FF2B5EF4-FFF2-40B4-BE49-F238E27FC236}">
                  <a16:creationId xmlns:a16="http://schemas.microsoft.com/office/drawing/2014/main" id="{16A78460-944F-40D8-9720-060CF38BCC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Freeform 6">
              <a:extLst>
                <a:ext uri="{FF2B5EF4-FFF2-40B4-BE49-F238E27FC236}">
                  <a16:creationId xmlns:a16="http://schemas.microsoft.com/office/drawing/2014/main" id="{D4FC20D1-A65A-4592-83A9-33ED6653F8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Freeform 7">
              <a:extLst>
                <a:ext uri="{FF2B5EF4-FFF2-40B4-BE49-F238E27FC236}">
                  <a16:creationId xmlns:a16="http://schemas.microsoft.com/office/drawing/2014/main" id="{431B3A64-8B9E-4B6C-8143-201A9FD52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78554E6B-03E1-4DD7-8D9D-BC14024B68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A5BAC18F-8976-445B-86B9-6676FD93A7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Freeform 10">
              <a:extLst>
                <a:ext uri="{FF2B5EF4-FFF2-40B4-BE49-F238E27FC236}">
                  <a16:creationId xmlns:a16="http://schemas.microsoft.com/office/drawing/2014/main" id="{9E6A8730-871E-4C7C-85C2-282A3F26EA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3362FEB1-7757-4C78-9CC0-1790E2C137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2" name="Freeform 12">
              <a:extLst>
                <a:ext uri="{FF2B5EF4-FFF2-40B4-BE49-F238E27FC236}">
                  <a16:creationId xmlns:a16="http://schemas.microsoft.com/office/drawing/2014/main" id="{AB1CAED1-2A2E-4D09-ACE3-2F0BDD8CEA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Freeform 13">
              <a:extLst>
                <a:ext uri="{FF2B5EF4-FFF2-40B4-BE49-F238E27FC236}">
                  <a16:creationId xmlns:a16="http://schemas.microsoft.com/office/drawing/2014/main" id="{2D374C0E-8D23-4EAF-AF0F-6BF2C66E7E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Freeform 14">
              <a:extLst>
                <a:ext uri="{FF2B5EF4-FFF2-40B4-BE49-F238E27FC236}">
                  <a16:creationId xmlns:a16="http://schemas.microsoft.com/office/drawing/2014/main" id="{F4B12C54-7E58-4993-87CF-0347A3A649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6" name="Freeform 15">
              <a:extLst>
                <a:ext uri="{FF2B5EF4-FFF2-40B4-BE49-F238E27FC236}">
                  <a16:creationId xmlns:a16="http://schemas.microsoft.com/office/drawing/2014/main" id="{2A40F3CE-6DB8-4A38-A3D4-28E25081B6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Freeform 16">
              <a:extLst>
                <a:ext uri="{FF2B5EF4-FFF2-40B4-BE49-F238E27FC236}">
                  <a16:creationId xmlns:a16="http://schemas.microsoft.com/office/drawing/2014/main" id="{DD150893-7AEA-4842-A45F-E32C017767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8" name="Freeform 17">
              <a:extLst>
                <a:ext uri="{FF2B5EF4-FFF2-40B4-BE49-F238E27FC236}">
                  <a16:creationId xmlns:a16="http://schemas.microsoft.com/office/drawing/2014/main" id="{7EE800A5-7934-49E8-9FF5-8EA7A77CCA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9" name="Freeform 18">
              <a:extLst>
                <a:ext uri="{FF2B5EF4-FFF2-40B4-BE49-F238E27FC236}">
                  <a16:creationId xmlns:a16="http://schemas.microsoft.com/office/drawing/2014/main" id="{99919049-D950-4E9E-A197-BD81D51FB4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0" name="Freeform 19">
              <a:extLst>
                <a:ext uri="{FF2B5EF4-FFF2-40B4-BE49-F238E27FC236}">
                  <a16:creationId xmlns:a16="http://schemas.microsoft.com/office/drawing/2014/main" id="{7A640A35-0634-4737-BDBA-3B485EDBCA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Freeform 20">
              <a:extLst>
                <a:ext uri="{FF2B5EF4-FFF2-40B4-BE49-F238E27FC236}">
                  <a16:creationId xmlns:a16="http://schemas.microsoft.com/office/drawing/2014/main" id="{CD6E32A7-D872-411E-A4DE-6F36742B05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Freeform 21">
              <a:extLst>
                <a:ext uri="{FF2B5EF4-FFF2-40B4-BE49-F238E27FC236}">
                  <a16:creationId xmlns:a16="http://schemas.microsoft.com/office/drawing/2014/main" id="{43582ACE-9D05-4DB7-A7AF-17A8697436F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Freeform 22">
              <a:extLst>
                <a:ext uri="{FF2B5EF4-FFF2-40B4-BE49-F238E27FC236}">
                  <a16:creationId xmlns:a16="http://schemas.microsoft.com/office/drawing/2014/main" id="{FFE4E0E0-5FB1-4235-B15D-35FE11694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Freeform 23">
              <a:extLst>
                <a:ext uri="{FF2B5EF4-FFF2-40B4-BE49-F238E27FC236}">
                  <a16:creationId xmlns:a16="http://schemas.microsoft.com/office/drawing/2014/main" id="{FED6FF02-4822-43CF-8285-CB0E95E85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5" name="Freeform 24">
              <a:extLst>
                <a:ext uri="{FF2B5EF4-FFF2-40B4-BE49-F238E27FC236}">
                  <a16:creationId xmlns:a16="http://schemas.microsoft.com/office/drawing/2014/main" id="{511E1BB0-E678-42B6-B5E7-0B33ADCE4B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Freeform 25">
              <a:extLst>
                <a:ext uri="{FF2B5EF4-FFF2-40B4-BE49-F238E27FC236}">
                  <a16:creationId xmlns:a16="http://schemas.microsoft.com/office/drawing/2014/main" id="{B5D36FD6-1670-450C-8A5D-004C55E8A3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7" name="Freeform 26">
              <a:extLst>
                <a:ext uri="{FF2B5EF4-FFF2-40B4-BE49-F238E27FC236}">
                  <a16:creationId xmlns:a16="http://schemas.microsoft.com/office/drawing/2014/main" id="{B27713E4-DC81-4EDF-A0BB-43188951B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8" name="Freeform 27">
              <a:extLst>
                <a:ext uri="{FF2B5EF4-FFF2-40B4-BE49-F238E27FC236}">
                  <a16:creationId xmlns:a16="http://schemas.microsoft.com/office/drawing/2014/main" id="{BD79DD85-856B-4B00-B592-3D65C686FA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9" name="Freeform 28">
              <a:extLst>
                <a:ext uri="{FF2B5EF4-FFF2-40B4-BE49-F238E27FC236}">
                  <a16:creationId xmlns:a16="http://schemas.microsoft.com/office/drawing/2014/main" id="{3B664FB2-A373-4BDB-BAFB-78A466323F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Freeform 29">
              <a:extLst>
                <a:ext uri="{FF2B5EF4-FFF2-40B4-BE49-F238E27FC236}">
                  <a16:creationId xmlns:a16="http://schemas.microsoft.com/office/drawing/2014/main" id="{050F5A05-7152-430E-AE36-336AECA86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1" name="Freeform 30">
              <a:extLst>
                <a:ext uri="{FF2B5EF4-FFF2-40B4-BE49-F238E27FC236}">
                  <a16:creationId xmlns:a16="http://schemas.microsoft.com/office/drawing/2014/main" id="{96ED083A-1182-4CDD-BF7C-AFBBF11D28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B9032B46-C6D2-4B2D-90AE-DAC9E3962D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" name="Freeform 32">
              <a:extLst>
                <a:ext uri="{FF2B5EF4-FFF2-40B4-BE49-F238E27FC236}">
                  <a16:creationId xmlns:a16="http://schemas.microsoft.com/office/drawing/2014/main" id="{DA4892E9-B374-4A71-81F4-9C974A49A5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Freeform 33">
              <a:extLst>
                <a:ext uri="{FF2B5EF4-FFF2-40B4-BE49-F238E27FC236}">
                  <a16:creationId xmlns:a16="http://schemas.microsoft.com/office/drawing/2014/main" id="{B706A204-F12C-49D9-B4E4-8AA13855EC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34">
              <a:extLst>
                <a:ext uri="{FF2B5EF4-FFF2-40B4-BE49-F238E27FC236}">
                  <a16:creationId xmlns:a16="http://schemas.microsoft.com/office/drawing/2014/main" id="{B8CAAF18-B205-40A1-8E1D-D13ED18F32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8" name="Freeform 35">
              <a:extLst>
                <a:ext uri="{FF2B5EF4-FFF2-40B4-BE49-F238E27FC236}">
                  <a16:creationId xmlns:a16="http://schemas.microsoft.com/office/drawing/2014/main" id="{85040068-0037-4559-9382-13DE422BE5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Freeform 36">
              <a:extLst>
                <a:ext uri="{FF2B5EF4-FFF2-40B4-BE49-F238E27FC236}">
                  <a16:creationId xmlns:a16="http://schemas.microsoft.com/office/drawing/2014/main" id="{D456203D-7981-4B67-BB22-157A24587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37">
              <a:extLst>
                <a:ext uri="{FF2B5EF4-FFF2-40B4-BE49-F238E27FC236}">
                  <a16:creationId xmlns:a16="http://schemas.microsoft.com/office/drawing/2014/main" id="{6C6AFB6B-BF0A-4B92-829A-05B93A191F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38">
              <a:extLst>
                <a:ext uri="{FF2B5EF4-FFF2-40B4-BE49-F238E27FC236}">
                  <a16:creationId xmlns:a16="http://schemas.microsoft.com/office/drawing/2014/main" id="{1A317769-7176-40EA-B0BA-F5B305D0AF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39">
              <a:extLst>
                <a:ext uri="{FF2B5EF4-FFF2-40B4-BE49-F238E27FC236}">
                  <a16:creationId xmlns:a16="http://schemas.microsoft.com/office/drawing/2014/main" id="{3098F491-75E5-4CBF-A6E9-128B5DCD79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40">
              <a:extLst>
                <a:ext uri="{FF2B5EF4-FFF2-40B4-BE49-F238E27FC236}">
                  <a16:creationId xmlns:a16="http://schemas.microsoft.com/office/drawing/2014/main" id="{8A48B8EA-A9B6-47F7-933C-F993756706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Freeform 41">
              <a:extLst>
                <a:ext uri="{FF2B5EF4-FFF2-40B4-BE49-F238E27FC236}">
                  <a16:creationId xmlns:a16="http://schemas.microsoft.com/office/drawing/2014/main" id="{D43036B4-05CD-4276-B218-40241FADB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Freeform 42">
              <a:extLst>
                <a:ext uri="{FF2B5EF4-FFF2-40B4-BE49-F238E27FC236}">
                  <a16:creationId xmlns:a16="http://schemas.microsoft.com/office/drawing/2014/main" id="{0C7E68D0-20B1-43AD-9E76-514920928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Freeform 43">
              <a:extLst>
                <a:ext uri="{FF2B5EF4-FFF2-40B4-BE49-F238E27FC236}">
                  <a16:creationId xmlns:a16="http://schemas.microsoft.com/office/drawing/2014/main" id="{2F3C3678-4028-460C-A4AF-9037A4E7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Freeform 44">
              <a:extLst>
                <a:ext uri="{FF2B5EF4-FFF2-40B4-BE49-F238E27FC236}">
                  <a16:creationId xmlns:a16="http://schemas.microsoft.com/office/drawing/2014/main" id="{E50F3136-1C56-46ED-9F74-D35D0A5EA1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45">
              <a:extLst>
                <a:ext uri="{FF2B5EF4-FFF2-40B4-BE49-F238E27FC236}">
                  <a16:creationId xmlns:a16="http://schemas.microsoft.com/office/drawing/2014/main" id="{1C36D463-1090-48ED-85C1-C899A23708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46">
              <a:extLst>
                <a:ext uri="{FF2B5EF4-FFF2-40B4-BE49-F238E27FC236}">
                  <a16:creationId xmlns:a16="http://schemas.microsoft.com/office/drawing/2014/main" id="{23EB6706-63CE-427D-BED7-784C47E171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Freeform 47">
              <a:extLst>
                <a:ext uri="{FF2B5EF4-FFF2-40B4-BE49-F238E27FC236}">
                  <a16:creationId xmlns:a16="http://schemas.microsoft.com/office/drawing/2014/main" id="{4616AD23-0FEB-4278-9157-62DD9342E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48">
              <a:extLst>
                <a:ext uri="{FF2B5EF4-FFF2-40B4-BE49-F238E27FC236}">
                  <a16:creationId xmlns:a16="http://schemas.microsoft.com/office/drawing/2014/main" id="{CD7E443D-0814-42B6-ABF3-6E31069676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49">
              <a:extLst>
                <a:ext uri="{FF2B5EF4-FFF2-40B4-BE49-F238E27FC236}">
                  <a16:creationId xmlns:a16="http://schemas.microsoft.com/office/drawing/2014/main" id="{7952AEC2-3116-4DC1-B80C-B35BD53B37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50">
              <a:extLst>
                <a:ext uri="{FF2B5EF4-FFF2-40B4-BE49-F238E27FC236}">
                  <a16:creationId xmlns:a16="http://schemas.microsoft.com/office/drawing/2014/main" id="{550F490E-0B1F-4826-84DF-E13D99D15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Rectangle 51">
              <a:extLst>
                <a:ext uri="{FF2B5EF4-FFF2-40B4-BE49-F238E27FC236}">
                  <a16:creationId xmlns:a16="http://schemas.microsoft.com/office/drawing/2014/main" id="{BE7BB47A-1203-4A1A-911A-253FEF7C95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5" name="Freeform 52">
              <a:extLst>
                <a:ext uri="{FF2B5EF4-FFF2-40B4-BE49-F238E27FC236}">
                  <a16:creationId xmlns:a16="http://schemas.microsoft.com/office/drawing/2014/main" id="{B5C18F47-16E9-4DF8-B09E-45780EE464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53">
              <a:extLst>
                <a:ext uri="{FF2B5EF4-FFF2-40B4-BE49-F238E27FC236}">
                  <a16:creationId xmlns:a16="http://schemas.microsoft.com/office/drawing/2014/main" id="{FC8D3C5E-5C3A-4076-A30E-3AF212E0A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Oval 54">
              <a:extLst>
                <a:ext uri="{FF2B5EF4-FFF2-40B4-BE49-F238E27FC236}">
                  <a16:creationId xmlns:a16="http://schemas.microsoft.com/office/drawing/2014/main" id="{73402B95-F3AE-4D45-A22D-C115B68D7A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Rectangle 55">
              <a:extLst>
                <a:ext uri="{FF2B5EF4-FFF2-40B4-BE49-F238E27FC236}">
                  <a16:creationId xmlns:a16="http://schemas.microsoft.com/office/drawing/2014/main" id="{322A8EE5-CB90-4F2A-B4F6-CB64F2346D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9" name="Rectangle 56">
              <a:extLst>
                <a:ext uri="{FF2B5EF4-FFF2-40B4-BE49-F238E27FC236}">
                  <a16:creationId xmlns:a16="http://schemas.microsoft.com/office/drawing/2014/main" id="{C1E70744-1EC3-405C-BDC8-0A723459B8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57">
              <a:extLst>
                <a:ext uri="{FF2B5EF4-FFF2-40B4-BE49-F238E27FC236}">
                  <a16:creationId xmlns:a16="http://schemas.microsoft.com/office/drawing/2014/main" id="{5D628981-7070-4DF5-8E87-996A49308B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58">
              <a:extLst>
                <a:ext uri="{FF2B5EF4-FFF2-40B4-BE49-F238E27FC236}">
                  <a16:creationId xmlns:a16="http://schemas.microsoft.com/office/drawing/2014/main" id="{6FEDA4D5-A9D3-435D-95CE-1AC8211E4A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Oval 59">
              <a:extLst>
                <a:ext uri="{FF2B5EF4-FFF2-40B4-BE49-F238E27FC236}">
                  <a16:creationId xmlns:a16="http://schemas.microsoft.com/office/drawing/2014/main" id="{1AF21477-56B3-40C7-A429-C815B4A793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Oval 60">
              <a:extLst>
                <a:ext uri="{FF2B5EF4-FFF2-40B4-BE49-F238E27FC236}">
                  <a16:creationId xmlns:a16="http://schemas.microsoft.com/office/drawing/2014/main" id="{E17C7682-4C4F-4C58-AB3D-A16C794A3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Oval 61">
              <a:extLst>
                <a:ext uri="{FF2B5EF4-FFF2-40B4-BE49-F238E27FC236}">
                  <a16:creationId xmlns:a16="http://schemas.microsoft.com/office/drawing/2014/main" id="{65DE27F5-EBB9-4A15-8B77-3358BBA81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Oval 62">
              <a:extLst>
                <a:ext uri="{FF2B5EF4-FFF2-40B4-BE49-F238E27FC236}">
                  <a16:creationId xmlns:a16="http://schemas.microsoft.com/office/drawing/2014/main" id="{FB4D0C75-9953-408D-8D33-4F1C5D2881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63">
              <a:extLst>
                <a:ext uri="{FF2B5EF4-FFF2-40B4-BE49-F238E27FC236}">
                  <a16:creationId xmlns:a16="http://schemas.microsoft.com/office/drawing/2014/main" id="{3BA990FB-9376-48CE-8B70-DFA5A7FCC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7" name="Rectangle 64">
              <a:extLst>
                <a:ext uri="{FF2B5EF4-FFF2-40B4-BE49-F238E27FC236}">
                  <a16:creationId xmlns:a16="http://schemas.microsoft.com/office/drawing/2014/main" id="{1D53A05E-4B98-4B99-9C5E-D1FF3835AE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Rectangle 65">
              <a:extLst>
                <a:ext uri="{FF2B5EF4-FFF2-40B4-BE49-F238E27FC236}">
                  <a16:creationId xmlns:a16="http://schemas.microsoft.com/office/drawing/2014/main" id="{EB6CCAFD-FB4C-4DC9-B2FB-9F15C4C12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Freeform 66">
              <a:extLst>
                <a:ext uri="{FF2B5EF4-FFF2-40B4-BE49-F238E27FC236}">
                  <a16:creationId xmlns:a16="http://schemas.microsoft.com/office/drawing/2014/main" id="{0085A7A0-DF5E-49AB-8DA9-04FF2B0A6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Rectangle 67">
              <a:extLst>
                <a:ext uri="{FF2B5EF4-FFF2-40B4-BE49-F238E27FC236}">
                  <a16:creationId xmlns:a16="http://schemas.microsoft.com/office/drawing/2014/main" id="{15F14B2B-EA36-4B0E-AA1C-4E22DC41D4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68">
              <a:extLst>
                <a:ext uri="{FF2B5EF4-FFF2-40B4-BE49-F238E27FC236}">
                  <a16:creationId xmlns:a16="http://schemas.microsoft.com/office/drawing/2014/main" id="{E011B4D3-240B-4C90-A8DD-7C49F56220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Rectangle 69">
              <a:extLst>
                <a:ext uri="{FF2B5EF4-FFF2-40B4-BE49-F238E27FC236}">
                  <a16:creationId xmlns:a16="http://schemas.microsoft.com/office/drawing/2014/main" id="{0B6297DA-F158-4DD4-A3FF-02DE240C2E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Rectangle 70">
              <a:extLst>
                <a:ext uri="{FF2B5EF4-FFF2-40B4-BE49-F238E27FC236}">
                  <a16:creationId xmlns:a16="http://schemas.microsoft.com/office/drawing/2014/main" id="{FA360226-9F94-4702-8C16-03CD278889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4" name="Freeform 71">
              <a:extLst>
                <a:ext uri="{FF2B5EF4-FFF2-40B4-BE49-F238E27FC236}">
                  <a16:creationId xmlns:a16="http://schemas.microsoft.com/office/drawing/2014/main" id="{763FE686-6A73-48D6-9D99-7D32A2D747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Freeform 72">
              <a:extLst>
                <a:ext uri="{FF2B5EF4-FFF2-40B4-BE49-F238E27FC236}">
                  <a16:creationId xmlns:a16="http://schemas.microsoft.com/office/drawing/2014/main" id="{B835EDEC-8B5C-421A-AFF0-9DF4033427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73">
              <a:extLst>
                <a:ext uri="{FF2B5EF4-FFF2-40B4-BE49-F238E27FC236}">
                  <a16:creationId xmlns:a16="http://schemas.microsoft.com/office/drawing/2014/main" id="{51234B50-B990-4082-BFF5-372CBB160D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Rectangle 74">
              <a:extLst>
                <a:ext uri="{FF2B5EF4-FFF2-40B4-BE49-F238E27FC236}">
                  <a16:creationId xmlns:a16="http://schemas.microsoft.com/office/drawing/2014/main" id="{6CCD3D96-B200-4FB3-A2C3-7362BF56A9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Rectangle 75">
              <a:extLst>
                <a:ext uri="{FF2B5EF4-FFF2-40B4-BE49-F238E27FC236}">
                  <a16:creationId xmlns:a16="http://schemas.microsoft.com/office/drawing/2014/main" id="{5E433D9C-D415-49FA-A87A-92845F1171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76">
              <a:extLst>
                <a:ext uri="{FF2B5EF4-FFF2-40B4-BE49-F238E27FC236}">
                  <a16:creationId xmlns:a16="http://schemas.microsoft.com/office/drawing/2014/main" id="{A0D54C1C-1249-4590-A348-37D404AAE0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Rectangle 77">
              <a:extLst>
                <a:ext uri="{FF2B5EF4-FFF2-40B4-BE49-F238E27FC236}">
                  <a16:creationId xmlns:a16="http://schemas.microsoft.com/office/drawing/2014/main" id="{AF8919B0-0529-4DCC-8FAF-9512A8F7C2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Rectangle 78">
              <a:extLst>
                <a:ext uri="{FF2B5EF4-FFF2-40B4-BE49-F238E27FC236}">
                  <a16:creationId xmlns:a16="http://schemas.microsoft.com/office/drawing/2014/main" id="{FB6A5A4D-9D73-4916-97E5-148C78FF3B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79">
              <a:extLst>
                <a:ext uri="{FF2B5EF4-FFF2-40B4-BE49-F238E27FC236}">
                  <a16:creationId xmlns:a16="http://schemas.microsoft.com/office/drawing/2014/main" id="{E1101B5B-AE21-433A-91F9-980B8B3F6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Rectangle 80">
              <a:extLst>
                <a:ext uri="{FF2B5EF4-FFF2-40B4-BE49-F238E27FC236}">
                  <a16:creationId xmlns:a16="http://schemas.microsoft.com/office/drawing/2014/main" id="{2393B4C9-1807-4B55-B212-A537EBFE5B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4" name="Rectangle 81">
              <a:extLst>
                <a:ext uri="{FF2B5EF4-FFF2-40B4-BE49-F238E27FC236}">
                  <a16:creationId xmlns:a16="http://schemas.microsoft.com/office/drawing/2014/main" id="{33B2DC4E-DD56-4673-ADE7-776D39F3A3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5" name="Freeform 82">
              <a:extLst>
                <a:ext uri="{FF2B5EF4-FFF2-40B4-BE49-F238E27FC236}">
                  <a16:creationId xmlns:a16="http://schemas.microsoft.com/office/drawing/2014/main" id="{6375BD53-AA91-4941-9859-BE63319D29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Freeform 83">
              <a:extLst>
                <a:ext uri="{FF2B5EF4-FFF2-40B4-BE49-F238E27FC236}">
                  <a16:creationId xmlns:a16="http://schemas.microsoft.com/office/drawing/2014/main" id="{44F399A8-A282-4D26-B500-31F6B32E5F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Rectangle 84">
              <a:extLst>
                <a:ext uri="{FF2B5EF4-FFF2-40B4-BE49-F238E27FC236}">
                  <a16:creationId xmlns:a16="http://schemas.microsoft.com/office/drawing/2014/main" id="{FA982A9B-6CC7-42FF-A59C-77209CB381F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Rectangle 85">
              <a:extLst>
                <a:ext uri="{FF2B5EF4-FFF2-40B4-BE49-F238E27FC236}">
                  <a16:creationId xmlns:a16="http://schemas.microsoft.com/office/drawing/2014/main" id="{0BDD4417-FD44-4426-B46A-18C09BC3CE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Oval 86">
              <a:extLst>
                <a:ext uri="{FF2B5EF4-FFF2-40B4-BE49-F238E27FC236}">
                  <a16:creationId xmlns:a16="http://schemas.microsoft.com/office/drawing/2014/main" id="{74965507-D2F5-48DF-A55C-2DAE47ED04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Freeform 87">
              <a:extLst>
                <a:ext uri="{FF2B5EF4-FFF2-40B4-BE49-F238E27FC236}">
                  <a16:creationId xmlns:a16="http://schemas.microsoft.com/office/drawing/2014/main" id="{A1D68577-EF56-4694-A854-0C65F3DB29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88">
              <a:extLst>
                <a:ext uri="{FF2B5EF4-FFF2-40B4-BE49-F238E27FC236}">
                  <a16:creationId xmlns:a16="http://schemas.microsoft.com/office/drawing/2014/main" id="{36DCD737-9EB6-428B-98E3-C6A066452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Oval 89">
              <a:extLst>
                <a:ext uri="{FF2B5EF4-FFF2-40B4-BE49-F238E27FC236}">
                  <a16:creationId xmlns:a16="http://schemas.microsoft.com/office/drawing/2014/main" id="{17A7B6E3-5800-4C00-A284-CD1362C2DF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Oval 90">
              <a:extLst>
                <a:ext uri="{FF2B5EF4-FFF2-40B4-BE49-F238E27FC236}">
                  <a16:creationId xmlns:a16="http://schemas.microsoft.com/office/drawing/2014/main" id="{7E2B5438-DE74-4C6C-9600-4F3D19ED0B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Oval 91">
              <a:extLst>
                <a:ext uri="{FF2B5EF4-FFF2-40B4-BE49-F238E27FC236}">
                  <a16:creationId xmlns:a16="http://schemas.microsoft.com/office/drawing/2014/main" id="{86DE78A3-6C8E-4DE7-952F-3F98F6A461D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5" name="Oval 92">
              <a:extLst>
                <a:ext uri="{FF2B5EF4-FFF2-40B4-BE49-F238E27FC236}">
                  <a16:creationId xmlns:a16="http://schemas.microsoft.com/office/drawing/2014/main" id="{36F3CF02-25A6-4C70-83C1-133AFC736C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6" name="Oval 93">
              <a:extLst>
                <a:ext uri="{FF2B5EF4-FFF2-40B4-BE49-F238E27FC236}">
                  <a16:creationId xmlns:a16="http://schemas.microsoft.com/office/drawing/2014/main" id="{247C32B3-8300-427D-AFB0-737F6152DA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7" name="Oval 94">
              <a:extLst>
                <a:ext uri="{FF2B5EF4-FFF2-40B4-BE49-F238E27FC236}">
                  <a16:creationId xmlns:a16="http://schemas.microsoft.com/office/drawing/2014/main" id="{F87C5AD9-CA48-4FC7-8AEB-A9FC4B5E02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Oval 95">
              <a:extLst>
                <a:ext uri="{FF2B5EF4-FFF2-40B4-BE49-F238E27FC236}">
                  <a16:creationId xmlns:a16="http://schemas.microsoft.com/office/drawing/2014/main" id="{589ADBDC-6943-4B8F-A019-B9024C5C40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Oval 96">
              <a:extLst>
                <a:ext uri="{FF2B5EF4-FFF2-40B4-BE49-F238E27FC236}">
                  <a16:creationId xmlns:a16="http://schemas.microsoft.com/office/drawing/2014/main" id="{70FEF975-ECAF-462F-AED6-2C0D993E4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Oval 97">
              <a:extLst>
                <a:ext uri="{FF2B5EF4-FFF2-40B4-BE49-F238E27FC236}">
                  <a16:creationId xmlns:a16="http://schemas.microsoft.com/office/drawing/2014/main" id="{4F072B6D-704D-4B60-9DB4-891E661D4B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Oval 98">
              <a:extLst>
                <a:ext uri="{FF2B5EF4-FFF2-40B4-BE49-F238E27FC236}">
                  <a16:creationId xmlns:a16="http://schemas.microsoft.com/office/drawing/2014/main" id="{8DD31024-ACE2-4744-83E5-8E6B3C490EC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Oval 99">
              <a:extLst>
                <a:ext uri="{FF2B5EF4-FFF2-40B4-BE49-F238E27FC236}">
                  <a16:creationId xmlns:a16="http://schemas.microsoft.com/office/drawing/2014/main" id="{4DCD3E6F-40F4-440E-91B6-DB7D6680F8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Oval 100">
              <a:extLst>
                <a:ext uri="{FF2B5EF4-FFF2-40B4-BE49-F238E27FC236}">
                  <a16:creationId xmlns:a16="http://schemas.microsoft.com/office/drawing/2014/main" id="{A2FE36BB-B003-4F0C-93BF-98D47C3382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Oval 101">
              <a:extLst>
                <a:ext uri="{FF2B5EF4-FFF2-40B4-BE49-F238E27FC236}">
                  <a16:creationId xmlns:a16="http://schemas.microsoft.com/office/drawing/2014/main" id="{64860F7D-0197-4B8A-ACC5-510FAD9DE4B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Freeform 102">
              <a:extLst>
                <a:ext uri="{FF2B5EF4-FFF2-40B4-BE49-F238E27FC236}">
                  <a16:creationId xmlns:a16="http://schemas.microsoft.com/office/drawing/2014/main" id="{55E53135-B841-49D5-9535-ED63A56F4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103">
              <a:extLst>
                <a:ext uri="{FF2B5EF4-FFF2-40B4-BE49-F238E27FC236}">
                  <a16:creationId xmlns:a16="http://schemas.microsoft.com/office/drawing/2014/main" id="{DCA7AB33-116B-405D-9DB0-9A6C386F41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104">
              <a:extLst>
                <a:ext uri="{FF2B5EF4-FFF2-40B4-BE49-F238E27FC236}">
                  <a16:creationId xmlns:a16="http://schemas.microsoft.com/office/drawing/2014/main" id="{A5B01B09-4DD9-467E-8845-75C9058810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Freeform 105">
              <a:extLst>
                <a:ext uri="{FF2B5EF4-FFF2-40B4-BE49-F238E27FC236}">
                  <a16:creationId xmlns:a16="http://schemas.microsoft.com/office/drawing/2014/main" id="{F526701D-5902-4F23-ACB1-00BC9EF115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Freeform 106">
              <a:extLst>
                <a:ext uri="{FF2B5EF4-FFF2-40B4-BE49-F238E27FC236}">
                  <a16:creationId xmlns:a16="http://schemas.microsoft.com/office/drawing/2014/main" id="{85A741FC-C7C7-463C-9A07-497E762C2A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107">
              <a:extLst>
                <a:ext uri="{FF2B5EF4-FFF2-40B4-BE49-F238E27FC236}">
                  <a16:creationId xmlns:a16="http://schemas.microsoft.com/office/drawing/2014/main" id="{F99CC46F-CE0D-45A5-AAB1-7E9DA5EF35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Freeform 108">
              <a:extLst>
                <a:ext uri="{FF2B5EF4-FFF2-40B4-BE49-F238E27FC236}">
                  <a16:creationId xmlns:a16="http://schemas.microsoft.com/office/drawing/2014/main" id="{9A94111F-7877-432F-B689-13811EFF01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109">
              <a:extLst>
                <a:ext uri="{FF2B5EF4-FFF2-40B4-BE49-F238E27FC236}">
                  <a16:creationId xmlns:a16="http://schemas.microsoft.com/office/drawing/2014/main" id="{1A93C9E2-11ED-4C23-A142-857DE040C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110">
              <a:extLst>
                <a:ext uri="{FF2B5EF4-FFF2-40B4-BE49-F238E27FC236}">
                  <a16:creationId xmlns:a16="http://schemas.microsoft.com/office/drawing/2014/main" id="{8C3004B5-3916-45E4-968B-508B31E9E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4" name="Freeform 111">
              <a:extLst>
                <a:ext uri="{FF2B5EF4-FFF2-40B4-BE49-F238E27FC236}">
                  <a16:creationId xmlns:a16="http://schemas.microsoft.com/office/drawing/2014/main" id="{50902076-A25A-42CF-8147-E60461102B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Freeform 112">
              <a:extLst>
                <a:ext uri="{FF2B5EF4-FFF2-40B4-BE49-F238E27FC236}">
                  <a16:creationId xmlns:a16="http://schemas.microsoft.com/office/drawing/2014/main" id="{A61C8919-D7E5-4086-AC7C-60E673999B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Oval 113">
              <a:extLst>
                <a:ext uri="{FF2B5EF4-FFF2-40B4-BE49-F238E27FC236}">
                  <a16:creationId xmlns:a16="http://schemas.microsoft.com/office/drawing/2014/main" id="{096AA497-FEEF-4918-832F-3AC24AC949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Oval 114">
              <a:extLst>
                <a:ext uri="{FF2B5EF4-FFF2-40B4-BE49-F238E27FC236}">
                  <a16:creationId xmlns:a16="http://schemas.microsoft.com/office/drawing/2014/main" id="{C9B40412-A883-40F8-9266-F99D73CDF8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Freeform 115">
              <a:extLst>
                <a:ext uri="{FF2B5EF4-FFF2-40B4-BE49-F238E27FC236}">
                  <a16:creationId xmlns:a16="http://schemas.microsoft.com/office/drawing/2014/main" id="{7B0926C0-0F96-4A5B-89E8-34E2A4AD4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9" name="Oval 116">
              <a:extLst>
                <a:ext uri="{FF2B5EF4-FFF2-40B4-BE49-F238E27FC236}">
                  <a16:creationId xmlns:a16="http://schemas.microsoft.com/office/drawing/2014/main" id="{B67DE966-B7E0-4F6C-98D4-D1B51A9412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0053027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702745C-F7D6-482F-980E-932E6627FA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570" y="1485233"/>
            <a:ext cx="12223941" cy="537276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8301CE0-BBF5-4CB8-AB47-A9627B3B05D5}"/>
              </a:ext>
            </a:extLst>
          </p:cNvPr>
          <p:cNvSpPr/>
          <p:nvPr userDrawn="1"/>
        </p:nvSpPr>
        <p:spPr>
          <a:xfrm>
            <a:off x="-2762082" y="1170022"/>
            <a:ext cx="12212118" cy="5384087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3655359" y="1971006"/>
            <a:ext cx="11086167" cy="7009095"/>
            <a:chOff x="1285" y="544"/>
            <a:chExt cx="5112" cy="3232"/>
          </a:xfrm>
          <a:solidFill>
            <a:schemeClr val="bg2">
              <a:alpha val="6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2462052" y="4019055"/>
            <a:ext cx="15664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LARGEST BEE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1963539" y="5117604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STRATEGY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3562633" y="6037237"/>
            <a:ext cx="1909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TOMORROW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5701850" y="4948264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PERFORMANCE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6752487" y="5733716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5212273" y="2734806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4952778" y="4234288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FU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399" y="142050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0399" y="835083"/>
            <a:ext cx="9144000" cy="477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A4DA07D-AC88-41A8-9985-D209010B9768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3" name="Picture 202">
            <a:extLst>
              <a:ext uri="{FF2B5EF4-FFF2-40B4-BE49-F238E27FC236}">
                <a16:creationId xmlns:a16="http://schemas.microsoft.com/office/drawing/2014/main" id="{D87189DC-AC10-4C24-B3E2-70DE9A34D45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545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0109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280641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602402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8527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cription + char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9216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874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662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41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>
            <a:extLst>
              <a:ext uri="{FF2B5EF4-FFF2-40B4-BE49-F238E27FC236}">
                <a16:creationId xmlns:a16="http://schemas.microsoft.com/office/drawing/2014/main" id="{65A2A68A-1AD7-4702-BA6C-01AA9C5E1F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1BBCDBA0-AA65-4275-9DD3-0A97A160C11E}"/>
              </a:ext>
            </a:extLst>
          </p:cNvPr>
          <p:cNvSpPr/>
          <p:nvPr userDrawn="1"/>
        </p:nvSpPr>
        <p:spPr>
          <a:xfrm>
            <a:off x="2043014" y="0"/>
            <a:ext cx="10148986" cy="6897049"/>
          </a:xfrm>
          <a:prstGeom prst="rect">
            <a:avLst/>
          </a:prstGeom>
          <a:gradFill>
            <a:gsLst>
              <a:gs pos="62000">
                <a:srgbClr val="414D5B">
                  <a:alpha val="69000"/>
                </a:srgbClr>
              </a:gs>
              <a:gs pos="38000">
                <a:srgbClr val="79828B">
                  <a:alpha val="74000"/>
                </a:srgbClr>
              </a:gs>
              <a:gs pos="93000">
                <a:srgbClr val="212F3F"/>
              </a:gs>
              <a:gs pos="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6F2F62-D915-4209-87AF-14CCCCDE52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1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6F2F62-D915-4209-87AF-14CCCCDE5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17">
            <a:extLst>
              <a:ext uri="{FF2B5EF4-FFF2-40B4-BE49-F238E27FC236}">
                <a16:creationId xmlns:a16="http://schemas.microsoft.com/office/drawing/2014/main" id="{790A9970-2267-4E50-8238-3CB46BDD753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7172788" y="907611"/>
            <a:ext cx="4441316" cy="4992908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8662EC69-79A2-4AA8-93FF-1341D186F66A}"/>
              </a:ext>
            </a:extLst>
          </p:cNvPr>
          <p:cNvGrpSpPr/>
          <p:nvPr userDrawn="1"/>
        </p:nvGrpSpPr>
        <p:grpSpPr>
          <a:xfrm rot="2700000">
            <a:off x="663578" y="-865"/>
            <a:ext cx="1554480" cy="1554480"/>
            <a:chOff x="2358572" y="1016001"/>
            <a:chExt cx="856342" cy="856342"/>
          </a:xfrm>
          <a:effectLst/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2D2C7AE-25A8-486C-A08C-D3D5F8873A26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90500">
              <a:solidFill>
                <a:schemeClr val="tx1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757585F-AB49-4392-8BBA-5A8A25A5C5BE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90500">
              <a:solidFill>
                <a:schemeClr val="tx1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7403018-19A2-4A25-BF81-9C70A0C8D1AF}"/>
              </a:ext>
            </a:extLst>
          </p:cNvPr>
          <p:cNvGrpSpPr/>
          <p:nvPr userDrawn="1"/>
        </p:nvGrpSpPr>
        <p:grpSpPr>
          <a:xfrm rot="2700000">
            <a:off x="67023" y="245687"/>
            <a:ext cx="2743200" cy="2743200"/>
            <a:chOff x="2358572" y="1016001"/>
            <a:chExt cx="856342" cy="856342"/>
          </a:xfrm>
          <a:effectLst/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1144D28-18D5-46AD-AC99-BE063F47C142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381000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EB471310-4138-4B99-AC41-7318D7F47C12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381000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E06B655D-A6CC-47B3-9ADB-63C033C02540}"/>
              </a:ext>
            </a:extLst>
          </p:cNvPr>
          <p:cNvGrpSpPr/>
          <p:nvPr userDrawn="1"/>
        </p:nvGrpSpPr>
        <p:grpSpPr>
          <a:xfrm rot="2700000">
            <a:off x="1816671" y="1880265"/>
            <a:ext cx="640080" cy="640080"/>
            <a:chOff x="2358572" y="1016001"/>
            <a:chExt cx="856342" cy="856342"/>
          </a:xfrm>
          <a:effectLst/>
        </p:grpSpPr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5DD904FA-D3AD-458C-B9B8-6191AE16E479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27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653AD21-EA4A-478B-A485-7F018B3C50D5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27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2B92120-12CB-47B5-BC10-40B628558B38}"/>
              </a:ext>
            </a:extLst>
          </p:cNvPr>
          <p:cNvGrpSpPr/>
          <p:nvPr userDrawn="1"/>
        </p:nvGrpSpPr>
        <p:grpSpPr>
          <a:xfrm rot="2700000">
            <a:off x="2729379" y="450411"/>
            <a:ext cx="914400" cy="914400"/>
            <a:chOff x="2358572" y="1016001"/>
            <a:chExt cx="856342" cy="856342"/>
          </a:xfrm>
          <a:effectLst/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806CC50F-0AF7-497B-B031-EBECB953BFA5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14CD188-8AE2-4196-A5A1-85C32B7F56E9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70463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7600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24598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66DC17-6687-4B33-9011-D24232FE5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1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66DC17-6687-4B33-9011-D24232FE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8E08F65-C817-437B-B907-C472C3AAE1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5AB30AC8-EC97-4868-84A9-1AA563CE337A}"/>
              </a:ext>
            </a:extLst>
          </p:cNvPr>
          <p:cNvSpPr txBox="1">
            <a:spLocks/>
          </p:cNvSpPr>
          <p:nvPr userDrawn="1"/>
        </p:nvSpPr>
        <p:spPr>
          <a:xfrm>
            <a:off x="11722100" y="6492875"/>
            <a:ext cx="4699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8C4F3A-D30B-412E-B52C-7D7F9B0182D2}" type="slidenum">
              <a:rPr lang="en-GB" b="1" smtClean="0">
                <a:solidFill>
                  <a:srgbClr val="212F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GB" b="1" dirty="0">
              <a:solidFill>
                <a:srgbClr val="212F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8595594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328E7A7-C1C5-4627-B054-FB3ABA1BF0F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12853351-34F6-45AE-BC67-12FD5CB8CD96}"/>
              </a:ext>
            </a:extLst>
          </p:cNvPr>
          <p:cNvSpPr/>
          <p:nvPr userDrawn="1"/>
        </p:nvSpPr>
        <p:spPr>
          <a:xfrm>
            <a:off x="1" y="-39049"/>
            <a:ext cx="12213918" cy="6897049"/>
          </a:xfrm>
          <a:prstGeom prst="rect">
            <a:avLst/>
          </a:prstGeom>
          <a:gradFill>
            <a:gsLst>
              <a:gs pos="75000">
                <a:srgbClr val="414D5B">
                  <a:alpha val="83000"/>
                </a:srgbClr>
              </a:gs>
              <a:gs pos="51000">
                <a:srgbClr val="79828B">
                  <a:alpha val="58000"/>
                </a:srgbClr>
              </a:gs>
              <a:gs pos="100000">
                <a:srgbClr val="212F3F"/>
              </a:gs>
              <a:gs pos="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6F2F62-D915-4209-87AF-14CCCCDE52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5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6F2F62-D915-4209-87AF-14CCCCDE5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Graphic 34">
            <a:extLst>
              <a:ext uri="{FF2B5EF4-FFF2-40B4-BE49-F238E27FC236}">
                <a16:creationId xmlns:a16="http://schemas.microsoft.com/office/drawing/2014/main" id="{0C48BC82-74EE-4440-BF10-A385E6CCE77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0800000">
            <a:off x="7172788" y="907611"/>
            <a:ext cx="4441316" cy="4992908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B45D34D-0ACC-43A1-B357-830AC6B6D190}"/>
              </a:ext>
            </a:extLst>
          </p:cNvPr>
          <p:cNvGrpSpPr/>
          <p:nvPr userDrawn="1"/>
        </p:nvGrpSpPr>
        <p:grpSpPr>
          <a:xfrm rot="2700000">
            <a:off x="663578" y="-865"/>
            <a:ext cx="1554480" cy="1554480"/>
            <a:chOff x="2358572" y="1016001"/>
            <a:chExt cx="856342" cy="856342"/>
          </a:xfrm>
          <a:effectLst/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71684914-176E-46C3-A7B2-08D916D67D11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90500">
              <a:solidFill>
                <a:schemeClr val="tx1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5391B52-320C-4A01-82DC-42FE39F44545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90500">
              <a:solidFill>
                <a:schemeClr val="tx1">
                  <a:lumMod val="10000"/>
                  <a:lumOff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1DB1657-2D5E-4A1D-81E5-17B7BB40EB04}"/>
              </a:ext>
            </a:extLst>
          </p:cNvPr>
          <p:cNvGrpSpPr/>
          <p:nvPr userDrawn="1"/>
        </p:nvGrpSpPr>
        <p:grpSpPr>
          <a:xfrm rot="2700000">
            <a:off x="67023" y="245687"/>
            <a:ext cx="2743200" cy="2743200"/>
            <a:chOff x="2358572" y="1016001"/>
            <a:chExt cx="856342" cy="856342"/>
          </a:xfrm>
          <a:effectLst/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3DFE410-F231-4E36-8289-A7082592F29E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381000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2727C54-5BAA-439A-83B2-73909B7FF430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381000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9284B12-94F2-479A-BE5E-2534F71CF752}"/>
              </a:ext>
            </a:extLst>
          </p:cNvPr>
          <p:cNvGrpSpPr/>
          <p:nvPr userDrawn="1"/>
        </p:nvGrpSpPr>
        <p:grpSpPr>
          <a:xfrm rot="2700000">
            <a:off x="1816671" y="1880265"/>
            <a:ext cx="640080" cy="640080"/>
            <a:chOff x="2358572" y="1016001"/>
            <a:chExt cx="856342" cy="856342"/>
          </a:xfrm>
          <a:effectLst/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82978D2-EDDB-48FA-AABD-89117775C642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27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7AB4EEBB-A8E3-4EC3-8D1F-C8467F9673AC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27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E95692C-4FB2-4601-9E39-688ED6D89ACD}"/>
              </a:ext>
            </a:extLst>
          </p:cNvPr>
          <p:cNvGrpSpPr/>
          <p:nvPr userDrawn="1"/>
        </p:nvGrpSpPr>
        <p:grpSpPr>
          <a:xfrm rot="2700000">
            <a:off x="2729379" y="450411"/>
            <a:ext cx="914400" cy="914400"/>
            <a:chOff x="2358572" y="1016001"/>
            <a:chExt cx="856342" cy="856342"/>
          </a:xfrm>
          <a:effectLst/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2D05DF62-E529-46B9-8DF0-70E461524B75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614C7AF-B55D-4898-8E68-7E43F02B4167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63300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2ACA7808-9672-4355-9AA1-2C01F883F2F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5CBF0D61-CE86-43B9-B2D6-5C2BB102B564}"/>
              </a:ext>
            </a:extLst>
          </p:cNvPr>
          <p:cNvSpPr/>
          <p:nvPr userDrawn="1"/>
        </p:nvSpPr>
        <p:spPr>
          <a:xfrm rot="10800000">
            <a:off x="-19049" y="-39049"/>
            <a:ext cx="12213918" cy="6897049"/>
          </a:xfrm>
          <a:prstGeom prst="rect">
            <a:avLst/>
          </a:prstGeom>
          <a:gradFill>
            <a:gsLst>
              <a:gs pos="63000">
                <a:srgbClr val="414D5B">
                  <a:alpha val="83000"/>
                </a:srgbClr>
              </a:gs>
              <a:gs pos="46000">
                <a:srgbClr val="79828B">
                  <a:alpha val="58000"/>
                </a:srgbClr>
              </a:gs>
              <a:gs pos="100000">
                <a:srgbClr val="212F3F"/>
              </a:gs>
              <a:gs pos="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C6F2F62-D915-4209-87AF-14CCCCDE52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9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C6F2F62-D915-4209-87AF-14CCCCDE52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phic 8">
            <a:extLst>
              <a:ext uri="{FF2B5EF4-FFF2-40B4-BE49-F238E27FC236}">
                <a16:creationId xmlns:a16="http://schemas.microsoft.com/office/drawing/2014/main" id="{A93FC644-CDAB-4B25-B7F0-0AA289895A7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85427" y="1032924"/>
            <a:ext cx="4441316" cy="4992908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A29BCE72-92CE-40ED-A107-26453FD24322}"/>
              </a:ext>
            </a:extLst>
          </p:cNvPr>
          <p:cNvGrpSpPr/>
          <p:nvPr userDrawn="1"/>
        </p:nvGrpSpPr>
        <p:grpSpPr>
          <a:xfrm rot="2700000">
            <a:off x="163189" y="644693"/>
            <a:ext cx="1280160" cy="1280160"/>
            <a:chOff x="2358572" y="1016001"/>
            <a:chExt cx="856342" cy="856342"/>
          </a:xfrm>
          <a:effectLst>
            <a:glow rad="152400">
              <a:schemeClr val="tx1">
                <a:alpha val="10000"/>
              </a:schemeClr>
            </a:glow>
          </a:effectLst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A5FA6DF-9145-4EA7-855E-901833A7121A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254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813218B8-5ACA-49CA-9BF0-7CD3E35CA263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254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03F8138-6AE6-463B-A934-3EF54042880A}"/>
              </a:ext>
            </a:extLst>
          </p:cNvPr>
          <p:cNvGrpSpPr/>
          <p:nvPr userDrawn="1"/>
        </p:nvGrpSpPr>
        <p:grpSpPr>
          <a:xfrm rot="2700000">
            <a:off x="932319" y="415237"/>
            <a:ext cx="914400" cy="914400"/>
            <a:chOff x="2358572" y="1016001"/>
            <a:chExt cx="856342" cy="856342"/>
          </a:xfrm>
          <a:effectLst/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95047CD-AD5F-44F0-95A1-480344E2E83C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4C6F80E-DB67-4074-8264-651929D3C78B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012572C-B9E4-439E-968E-62A08969957F}"/>
              </a:ext>
            </a:extLst>
          </p:cNvPr>
          <p:cNvGrpSpPr/>
          <p:nvPr userDrawn="1"/>
        </p:nvGrpSpPr>
        <p:grpSpPr>
          <a:xfrm rot="2700000">
            <a:off x="869201" y="632878"/>
            <a:ext cx="457200" cy="457200"/>
            <a:chOff x="2358572" y="1016001"/>
            <a:chExt cx="856342" cy="85634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971B192-74D2-459F-AD72-DC2DF21C85D9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11125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99CC499-15BF-459A-8691-80F905A6A77F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11125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99996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conveyor dir="l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488FBE3-3DC1-4F35-8574-FACA54B5F4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716" y="1456535"/>
            <a:ext cx="12193079" cy="5426551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6F7FE855-E2AB-4AF1-9BDC-4572A5B72FCB}"/>
              </a:ext>
            </a:extLst>
          </p:cNvPr>
          <p:cNvSpPr/>
          <p:nvPr userDrawn="1"/>
        </p:nvSpPr>
        <p:spPr>
          <a:xfrm>
            <a:off x="-10309" y="1483115"/>
            <a:ext cx="12192000" cy="5403324"/>
          </a:xfrm>
          <a:prstGeom prst="rect">
            <a:avLst/>
          </a:prstGeom>
          <a:solidFill>
            <a:schemeClr val="accent6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3647798" y="3661114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LEADERSHIP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2926589" y="4759663"/>
            <a:ext cx="15528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INNOVATION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5007829" y="5688456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INING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855401" y="4590323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906038" y="537577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365824" y="237686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MACROECONOMIC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106329" y="3876347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5823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250A207-9EBE-451D-8910-76E03AFE2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83783"/>
            <a:ext cx="12216447" cy="5374217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1250843A-7FA1-4A4D-A37F-7F9F55EF4E18}"/>
              </a:ext>
            </a:extLst>
          </p:cNvPr>
          <p:cNvSpPr/>
          <p:nvPr userDrawn="1"/>
        </p:nvSpPr>
        <p:spPr>
          <a:xfrm>
            <a:off x="-1868470" y="842194"/>
            <a:ext cx="12192000" cy="5367249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4025207" y="3697228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VOLUME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3932926" y="5351335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SAFETY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4911920" y="5705201"/>
            <a:ext cx="17067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PRODUCT</a:t>
            </a:r>
          </a:p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IX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085812" y="4401620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spc="300" dirty="0">
                <a:solidFill>
                  <a:schemeClr val="bg1">
                    <a:alpha val="70000"/>
                  </a:schemeClr>
                </a:solidFill>
              </a:rPr>
              <a:t>MARKETS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951474" y="5214415"/>
            <a:ext cx="2967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OPERATIONAL EXCELLENC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285170" y="2358422"/>
            <a:ext cx="24297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50" b="0" spc="70" baseline="0" dirty="0">
                <a:solidFill>
                  <a:schemeClr val="bg1">
                    <a:alpha val="70000"/>
                  </a:schemeClr>
                </a:solidFill>
              </a:rPr>
              <a:t>MAJOR PROJECTS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422180" y="3465107"/>
            <a:ext cx="2967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>
                    <a:alpha val="70000"/>
                  </a:schemeClr>
                </a:solidFill>
              </a:rPr>
              <a:t>VALU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17244973-3728-4418-9588-8665CFDF78A1}"/>
              </a:ext>
            </a:extLst>
          </p:cNvPr>
          <p:cNvSpPr txBox="1"/>
          <p:nvPr userDrawn="1"/>
        </p:nvSpPr>
        <p:spPr>
          <a:xfrm>
            <a:off x="3430549" y="2381521"/>
            <a:ext cx="24297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spc="70" baseline="0" dirty="0" err="1">
                <a:solidFill>
                  <a:schemeClr val="bg1">
                    <a:alpha val="70000"/>
                  </a:schemeClr>
                </a:solidFill>
              </a:rPr>
              <a:t>digital@exxaro</a:t>
            </a:r>
            <a:endParaRPr lang="en-US" sz="2000" b="0" spc="70" baseline="0" dirty="0">
              <a:solidFill>
                <a:schemeClr val="bg1">
                  <a:alpha val="7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1737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5E71032-C8C5-4A5C-BF52-059A95866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8"/>
          <a:stretch/>
        </p:blipFill>
        <p:spPr>
          <a:xfrm>
            <a:off x="-10309" y="1487455"/>
            <a:ext cx="12197926" cy="5375261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E946AF62-DF3D-42F4-82A7-6A0E016EDB9D}"/>
              </a:ext>
            </a:extLst>
          </p:cNvPr>
          <p:cNvSpPr/>
          <p:nvPr userDrawn="1"/>
        </p:nvSpPr>
        <p:spPr>
          <a:xfrm>
            <a:off x="-1482" y="1454676"/>
            <a:ext cx="9782286" cy="5403324"/>
          </a:xfrm>
          <a:prstGeom prst="rect">
            <a:avLst/>
          </a:prstGeom>
          <a:solidFill>
            <a:schemeClr val="accent6">
              <a:lumMod val="5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rgbClr val="768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4697221" y="3221034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EARNING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6093335" y="3985574"/>
            <a:ext cx="16829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INVESTMENT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3420358" y="2541802"/>
            <a:ext cx="16951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spc="300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184170" y="4956680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MARKETS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440416" y="2377989"/>
            <a:ext cx="2090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PERFORMANCE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452868" y="3163877"/>
            <a:ext cx="4167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>
                    <a:alpha val="70000"/>
                  </a:schemeClr>
                </a:solidFill>
              </a:rPr>
              <a:t>CAPITAL ALLOC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1F73B22E-B183-4DC4-8206-43F23F251027}"/>
              </a:ext>
            </a:extLst>
          </p:cNvPr>
          <p:cNvSpPr txBox="1"/>
          <p:nvPr userDrawn="1"/>
        </p:nvSpPr>
        <p:spPr>
          <a:xfrm>
            <a:off x="5746723" y="4527077"/>
            <a:ext cx="12827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spc="140" baseline="0" dirty="0">
                <a:solidFill>
                  <a:schemeClr val="bg1">
                    <a:alpha val="70000"/>
                  </a:schemeClr>
                </a:solidFill>
              </a:rPr>
              <a:t>PRIC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F7BDBAC5-867D-4D77-B8A1-3F64734A0468}"/>
              </a:ext>
            </a:extLst>
          </p:cNvPr>
          <p:cNvSpPr txBox="1"/>
          <p:nvPr userDrawn="1"/>
        </p:nvSpPr>
        <p:spPr>
          <a:xfrm>
            <a:off x="3942778" y="5395286"/>
            <a:ext cx="1009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6451619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4FB68A9-249A-495B-8F27-BA4E12B373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17" y="1468601"/>
            <a:ext cx="12186679" cy="5388323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1308E62F-3C99-430E-8DD2-4F7C6C58CB19}"/>
              </a:ext>
            </a:extLst>
          </p:cNvPr>
          <p:cNvSpPr/>
          <p:nvPr userDrawn="1"/>
        </p:nvSpPr>
        <p:spPr>
          <a:xfrm>
            <a:off x="-10310" y="1433571"/>
            <a:ext cx="10115007" cy="5424429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4080062" y="3724740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GLOBAL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3489318" y="5352884"/>
            <a:ext cx="15875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INNOVATION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4901348" y="5730663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ARKET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094456" y="4526984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687710" y="5744263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365824" y="2378357"/>
            <a:ext cx="24733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0" spc="70" baseline="0" dirty="0">
                <a:solidFill>
                  <a:schemeClr val="bg1">
                    <a:alpha val="70000"/>
                  </a:schemeClr>
                </a:solidFill>
              </a:rPr>
              <a:t>OPTIMISATION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106329" y="3876347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1858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8D60087B-E053-4517-AC7E-E941A07FD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30" name="think-cell Slide" r:id="rId10" imgW="421" imgH="423" progId="TCLayout.ActiveDocument.1">
                  <p:embed/>
                </p:oleObj>
              </mc:Choice>
              <mc:Fallback>
                <p:oleObj name="think-cell Slide" r:id="rId10" imgW="421" imgH="423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8D60087B-E053-4517-AC7E-E941A07FD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119DE1DF-6559-4C61-98CA-B830BBC4C845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0" name="Picture Placeholder 10">
            <a:extLst>
              <a:ext uri="{FF2B5EF4-FFF2-40B4-BE49-F238E27FC236}">
                <a16:creationId xmlns:a16="http://schemas.microsoft.com/office/drawing/2014/main" id="{48C4AAAD-3849-437D-BE96-265DC0E383B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1910703-CE76-4974-90E4-3D2569650A6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3000">
                <a:srgbClr val="5D6771">
                  <a:alpha val="47000"/>
                </a:srgbClr>
              </a:gs>
              <a:gs pos="51000">
                <a:srgbClr val="8A9096">
                  <a:alpha val="35000"/>
                </a:srgbClr>
              </a:gs>
              <a:gs pos="0">
                <a:srgbClr val="212F3F">
                  <a:alpha val="67000"/>
                </a:srgbClr>
              </a:gs>
              <a:gs pos="100000">
                <a:schemeClr val="bg1">
                  <a:lumMod val="85000"/>
                  <a:alpha val="4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3C15BB5-C911-465F-AC69-87F14E2FE3C9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85427" y="1032924"/>
            <a:ext cx="4441316" cy="4992908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07ABB5F3-A7A4-44D3-878D-0480E3F222D3}"/>
              </a:ext>
            </a:extLst>
          </p:cNvPr>
          <p:cNvGrpSpPr/>
          <p:nvPr userDrawn="1"/>
        </p:nvGrpSpPr>
        <p:grpSpPr>
          <a:xfrm rot="2700000">
            <a:off x="163189" y="644693"/>
            <a:ext cx="1280160" cy="1280160"/>
            <a:chOff x="2358572" y="1016001"/>
            <a:chExt cx="856342" cy="856342"/>
          </a:xfrm>
          <a:effectLst>
            <a:glow rad="152400">
              <a:schemeClr val="tx1">
                <a:alpha val="10000"/>
              </a:schemeClr>
            </a:glow>
          </a:effectLst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3D351D3-8584-4314-9685-33DA95EE79B6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254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A7CB983-13E1-4054-8D0B-BD1463B5FF25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2540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C4DB329-27EB-4FB7-A3A7-D69BABB9D2D0}"/>
              </a:ext>
            </a:extLst>
          </p:cNvPr>
          <p:cNvGrpSpPr/>
          <p:nvPr userDrawn="1"/>
        </p:nvGrpSpPr>
        <p:grpSpPr>
          <a:xfrm rot="2700000">
            <a:off x="932319" y="415237"/>
            <a:ext cx="914400" cy="914400"/>
            <a:chOff x="2358572" y="1016001"/>
            <a:chExt cx="856342" cy="856342"/>
          </a:xfrm>
          <a:effectLst/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57631F5-918C-4E08-9A25-28A341A5CDEB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8638B11-3A7F-4FA7-A566-1A127D32EAE0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254000">
              <a:solidFill>
                <a:srgbClr val="8FD4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8EEB589-205E-4C59-9F75-A2A639E3166F}"/>
              </a:ext>
            </a:extLst>
          </p:cNvPr>
          <p:cNvGrpSpPr/>
          <p:nvPr userDrawn="1"/>
        </p:nvGrpSpPr>
        <p:grpSpPr>
          <a:xfrm rot="2700000">
            <a:off x="869201" y="632878"/>
            <a:ext cx="457200" cy="457200"/>
            <a:chOff x="2358572" y="1016001"/>
            <a:chExt cx="856342" cy="85634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BD6E346-3074-4730-AF0F-ADDC483FDE35}"/>
                </a:ext>
              </a:extLst>
            </p:cNvPr>
            <p:cNvCxnSpPr/>
            <p:nvPr/>
          </p:nvCxnSpPr>
          <p:spPr>
            <a:xfrm flipH="1">
              <a:off x="2786743" y="1016001"/>
              <a:ext cx="0" cy="856342"/>
            </a:xfrm>
            <a:prstGeom prst="line">
              <a:avLst/>
            </a:prstGeom>
            <a:ln w="111125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9856FB3-E8B4-4960-B8CB-5A1484B729BC}"/>
                </a:ext>
              </a:extLst>
            </p:cNvPr>
            <p:cNvCxnSpPr/>
            <p:nvPr/>
          </p:nvCxnSpPr>
          <p:spPr>
            <a:xfrm rot="5400000" flipH="1">
              <a:off x="2786743" y="986972"/>
              <a:ext cx="0" cy="856342"/>
            </a:xfrm>
            <a:prstGeom prst="line">
              <a:avLst/>
            </a:prstGeom>
            <a:ln w="111125">
              <a:solidFill>
                <a:srgbClr val="212F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2793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470" r:id="rId2"/>
    <p:sldLayoutId id="2147484471" r:id="rId3"/>
    <p:sldLayoutId id="2147484472" r:id="rId4"/>
    <p:sldLayoutId id="2147484475" r:id="rId5"/>
  </p:sldLayoutIdLst>
  <mc:AlternateContent xmlns:mc="http://schemas.openxmlformats.org/markup-compatibility/2006" xmlns:p14="http://schemas.microsoft.com/office/powerpoint/2010/main">
    <mc:Choice Requires="p14">
      <p:transition spd="slow">
        <p14:conveyor dir="l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EA21D0-C542-4160-82D9-10EC6C490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12927"/>
            <a:ext cx="11485561" cy="847621"/>
          </a:xfrm>
          <a:prstGeom prst="rect">
            <a:avLst/>
          </a:prstGeom>
          <a:effectLst/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D8437F-62DC-45C9-8EB1-00F6036C716D}"/>
              </a:ext>
            </a:extLst>
          </p:cNvPr>
          <p:cNvSpPr/>
          <p:nvPr userDrawn="1"/>
        </p:nvSpPr>
        <p:spPr>
          <a:xfrm>
            <a:off x="-1762124" y="0"/>
            <a:ext cx="1695450" cy="485775"/>
          </a:xfrm>
          <a:prstGeom prst="rect">
            <a:avLst/>
          </a:prstGeom>
          <a:solidFill>
            <a:srgbClr val="3A2B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58; G43; B3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189D80-932A-40EA-A535-D78C8DD753BF}"/>
              </a:ext>
            </a:extLst>
          </p:cNvPr>
          <p:cNvSpPr/>
          <p:nvPr userDrawn="1"/>
        </p:nvSpPr>
        <p:spPr>
          <a:xfrm>
            <a:off x="-1762124" y="574774"/>
            <a:ext cx="1695450" cy="4857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65; G207; B76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67BE5-8BA9-4FEC-9C65-2382E2651AB6}"/>
              </a:ext>
            </a:extLst>
          </p:cNvPr>
          <p:cNvSpPr/>
          <p:nvPr userDrawn="1"/>
        </p:nvSpPr>
        <p:spPr>
          <a:xfrm>
            <a:off x="-1762124" y="2873870"/>
            <a:ext cx="1695450" cy="4857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95; G160; B18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B2A15AA-27E5-48CD-984E-9327E1432C53}"/>
              </a:ext>
            </a:extLst>
          </p:cNvPr>
          <p:cNvSpPr/>
          <p:nvPr userDrawn="1"/>
        </p:nvSpPr>
        <p:spPr>
          <a:xfrm>
            <a:off x="-1762124" y="1149548"/>
            <a:ext cx="1695450" cy="4857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43; G174; B13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5AA259-5883-4BE8-A6F0-9D804C172E83}"/>
              </a:ext>
            </a:extLst>
          </p:cNvPr>
          <p:cNvSpPr/>
          <p:nvPr userDrawn="1"/>
        </p:nvSpPr>
        <p:spPr>
          <a:xfrm>
            <a:off x="-1762124" y="2299096"/>
            <a:ext cx="1695450" cy="4857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36; G209; B20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4A5716-6D70-49E4-82B0-D476C5832A6F}"/>
              </a:ext>
            </a:extLst>
          </p:cNvPr>
          <p:cNvSpPr/>
          <p:nvPr userDrawn="1"/>
        </p:nvSpPr>
        <p:spPr>
          <a:xfrm>
            <a:off x="-1762124" y="4598192"/>
            <a:ext cx="1695450" cy="48577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224; G202; B9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60D1B6-91F3-4060-873A-7FB7B78FFCB4}"/>
              </a:ext>
            </a:extLst>
          </p:cNvPr>
          <p:cNvSpPr/>
          <p:nvPr userDrawn="1"/>
        </p:nvSpPr>
        <p:spPr>
          <a:xfrm>
            <a:off x="-1762124" y="4023418"/>
            <a:ext cx="1695450" cy="4857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21; G98; B73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4042E68-C524-4CB6-8A39-B90AD16216EE}"/>
              </a:ext>
            </a:extLst>
          </p:cNvPr>
          <p:cNvSpPr/>
          <p:nvPr userDrawn="1"/>
        </p:nvSpPr>
        <p:spPr>
          <a:xfrm>
            <a:off x="-1762124" y="5172967"/>
            <a:ext cx="1695450" cy="485775"/>
          </a:xfrm>
          <a:prstGeom prst="rect">
            <a:avLst/>
          </a:prstGeom>
          <a:solidFill>
            <a:srgbClr val="7077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12; G119; B57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700C80-A23E-4154-B7F6-3D3E095D4D2E}"/>
              </a:ext>
            </a:extLst>
          </p:cNvPr>
          <p:cNvSpPr/>
          <p:nvPr userDrawn="1"/>
        </p:nvSpPr>
        <p:spPr>
          <a:xfrm>
            <a:off x="-1762124" y="1724322"/>
            <a:ext cx="1695450" cy="485775"/>
          </a:xfrm>
          <a:prstGeom prst="rect">
            <a:avLst/>
          </a:prstGeom>
          <a:solidFill>
            <a:srgbClr val="6B8A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07; G138; B12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ACC354-F893-458C-B3A4-AE360C3DBCEC}"/>
              </a:ext>
            </a:extLst>
          </p:cNvPr>
          <p:cNvSpPr/>
          <p:nvPr userDrawn="1"/>
        </p:nvSpPr>
        <p:spPr>
          <a:xfrm>
            <a:off x="-1762124" y="3448644"/>
            <a:ext cx="1695450" cy="485775"/>
          </a:xfrm>
          <a:prstGeom prst="rect">
            <a:avLst/>
          </a:prstGeom>
          <a:solidFill>
            <a:srgbClr val="C6C3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98; G195; B15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CF1273-B35D-414C-AEFE-44D7FF72C7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844674"/>
            <a:ext cx="11522075" cy="4500563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233F34-ECF3-4AD3-AC4A-2BD74E1A0F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5072" y="6426421"/>
            <a:ext cx="7219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>
                <a:solidFill>
                  <a:schemeClr val="tx2"/>
                </a:solidFill>
              </a:defRPr>
            </a:lvl1pPr>
          </a:lstStyle>
          <a:p>
            <a:fld id="{E1989730-EB42-4AE5-BB97-5625C4FA2B8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1300658-13A9-4A4E-BA96-D440840CD2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169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2" r:id="rId1"/>
    <p:sldLayoutId id="2147484583" r:id="rId2"/>
    <p:sldLayoutId id="2147484584" r:id="rId3"/>
    <p:sldLayoutId id="2147484585" r:id="rId4"/>
    <p:sldLayoutId id="2147484586" r:id="rId5"/>
    <p:sldLayoutId id="2147484587" r:id="rId6"/>
    <p:sldLayoutId id="2147484588" r:id="rId7"/>
    <p:sldLayoutId id="2147484600" r:id="rId8"/>
    <p:sldLayoutId id="2147484601" r:id="rId9"/>
    <p:sldLayoutId id="2147484602" r:id="rId10"/>
  </p:sldLayoutIdLst>
  <p:hf hdr="0" ft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b="1" kern="120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727">
          <p15:clr>
            <a:srgbClr val="F26B43"/>
          </p15:clr>
        </p15:guide>
        <p15:guide id="3" pos="3840">
          <p15:clr>
            <a:srgbClr val="F26B43"/>
          </p15:clr>
        </p15:guide>
        <p15:guide id="4" pos="7469">
          <p15:clr>
            <a:srgbClr val="F26B43"/>
          </p15:clr>
        </p15:guide>
        <p15:guide id="5" pos="211">
          <p15:clr>
            <a:srgbClr val="F26B43"/>
          </p15:clr>
        </p15:guide>
        <p15:guide id="8" orient="horz" pos="663" userDrawn="1">
          <p15:clr>
            <a:srgbClr val="F26B43"/>
          </p15:clr>
        </p15:guide>
        <p15:guide id="9" orient="horz" pos="3997">
          <p15:clr>
            <a:srgbClr val="F26B43"/>
          </p15:clr>
        </p15:guide>
        <p15:guide id="10" orient="horz" pos="142" userDrawn="1">
          <p15:clr>
            <a:srgbClr val="F26B43"/>
          </p15:clr>
        </p15:guide>
        <p15:guide id="11" orient="horz" pos="958" userDrawn="1">
          <p15:clr>
            <a:srgbClr val="F26B43"/>
          </p15:clr>
        </p15:guide>
        <p15:guide id="12" pos="3940" userDrawn="1">
          <p15:clr>
            <a:srgbClr val="F26B43"/>
          </p15:clr>
        </p15:guide>
        <p15:guide id="13" orient="horz" pos="116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EA21D0-C542-4160-82D9-10EC6C490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66454"/>
            <a:ext cx="11485561" cy="753601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D8437F-62DC-45C9-8EB1-00F6036C716D}"/>
              </a:ext>
            </a:extLst>
          </p:cNvPr>
          <p:cNvSpPr/>
          <p:nvPr userDrawn="1"/>
        </p:nvSpPr>
        <p:spPr>
          <a:xfrm>
            <a:off x="-1762124" y="0"/>
            <a:ext cx="1695450" cy="485775"/>
          </a:xfrm>
          <a:prstGeom prst="rect">
            <a:avLst/>
          </a:prstGeom>
          <a:solidFill>
            <a:srgbClr val="3A2B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58; G43; B3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189D80-932A-40EA-A535-D78C8DD753BF}"/>
              </a:ext>
            </a:extLst>
          </p:cNvPr>
          <p:cNvSpPr/>
          <p:nvPr userDrawn="1"/>
        </p:nvSpPr>
        <p:spPr>
          <a:xfrm>
            <a:off x="-1762124" y="574774"/>
            <a:ext cx="1695450" cy="4857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65; G207; B76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67BE5-8BA9-4FEC-9C65-2382E2651AB6}"/>
              </a:ext>
            </a:extLst>
          </p:cNvPr>
          <p:cNvSpPr/>
          <p:nvPr userDrawn="1"/>
        </p:nvSpPr>
        <p:spPr>
          <a:xfrm>
            <a:off x="-1762124" y="2873870"/>
            <a:ext cx="1695450" cy="4857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95; G160; B18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B2A15AA-27E5-48CD-984E-9327E1432C53}"/>
              </a:ext>
            </a:extLst>
          </p:cNvPr>
          <p:cNvSpPr/>
          <p:nvPr userDrawn="1"/>
        </p:nvSpPr>
        <p:spPr>
          <a:xfrm>
            <a:off x="-1762124" y="1149548"/>
            <a:ext cx="1695450" cy="4857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43; G174; B13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5AA259-5883-4BE8-A6F0-9D804C172E83}"/>
              </a:ext>
            </a:extLst>
          </p:cNvPr>
          <p:cNvSpPr/>
          <p:nvPr userDrawn="1"/>
        </p:nvSpPr>
        <p:spPr>
          <a:xfrm>
            <a:off x="-1762124" y="2299096"/>
            <a:ext cx="1695450" cy="4857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36; G209; B20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4A5716-6D70-49E4-82B0-D476C5832A6F}"/>
              </a:ext>
            </a:extLst>
          </p:cNvPr>
          <p:cNvSpPr/>
          <p:nvPr userDrawn="1"/>
        </p:nvSpPr>
        <p:spPr>
          <a:xfrm>
            <a:off x="-1762124" y="4598192"/>
            <a:ext cx="1695450" cy="48577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224; G202; B9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60D1B6-91F3-4060-873A-7FB7B78FFCB4}"/>
              </a:ext>
            </a:extLst>
          </p:cNvPr>
          <p:cNvSpPr/>
          <p:nvPr userDrawn="1"/>
        </p:nvSpPr>
        <p:spPr>
          <a:xfrm>
            <a:off x="-1762124" y="4023418"/>
            <a:ext cx="1695450" cy="4857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21; G98; B73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4042E68-C524-4CB6-8A39-B90AD16216EE}"/>
              </a:ext>
            </a:extLst>
          </p:cNvPr>
          <p:cNvSpPr/>
          <p:nvPr userDrawn="1"/>
        </p:nvSpPr>
        <p:spPr>
          <a:xfrm>
            <a:off x="-1762124" y="5172967"/>
            <a:ext cx="1695450" cy="485775"/>
          </a:xfrm>
          <a:prstGeom prst="rect">
            <a:avLst/>
          </a:prstGeom>
          <a:solidFill>
            <a:srgbClr val="7077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12; G119; B57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700C80-A23E-4154-B7F6-3D3E095D4D2E}"/>
              </a:ext>
            </a:extLst>
          </p:cNvPr>
          <p:cNvSpPr/>
          <p:nvPr userDrawn="1"/>
        </p:nvSpPr>
        <p:spPr>
          <a:xfrm>
            <a:off x="-1762124" y="1724322"/>
            <a:ext cx="1695450" cy="485775"/>
          </a:xfrm>
          <a:prstGeom prst="rect">
            <a:avLst/>
          </a:prstGeom>
          <a:solidFill>
            <a:srgbClr val="6B8A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07; G138; B12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ACC354-F893-458C-B3A4-AE360C3DBCEC}"/>
              </a:ext>
            </a:extLst>
          </p:cNvPr>
          <p:cNvSpPr/>
          <p:nvPr userDrawn="1"/>
        </p:nvSpPr>
        <p:spPr>
          <a:xfrm>
            <a:off x="-1762124" y="3448644"/>
            <a:ext cx="1695450" cy="485775"/>
          </a:xfrm>
          <a:prstGeom prst="rect">
            <a:avLst/>
          </a:prstGeom>
          <a:solidFill>
            <a:srgbClr val="C6C3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98; G195; B15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CF1273-B35D-414C-AEFE-44D7FF72C7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016000"/>
            <a:ext cx="11485561" cy="5329237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233F34-ECF3-4AD3-AC4A-2BD74E1A0F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4" y="728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>
                <a:solidFill>
                  <a:schemeClr val="tx2"/>
                </a:solidFill>
              </a:defRPr>
            </a:lvl1pPr>
          </a:lstStyle>
          <a:p>
            <a:fld id="{E1989730-EB42-4AE5-BB97-5625C4FA2B8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69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  <p:sldLayoutId id="2147484611" r:id="rId8"/>
    <p:sldLayoutId id="2147484612" r:id="rId9"/>
    <p:sldLayoutId id="2147484613" r:id="rId10"/>
    <p:sldLayoutId id="2147484614" r:id="rId11"/>
    <p:sldLayoutId id="2147484615" r:id="rId12"/>
    <p:sldLayoutId id="2147484616" r:id="rId13"/>
    <p:sldLayoutId id="2147484617" r:id="rId14"/>
    <p:sldLayoutId id="2147484618" r:id="rId15"/>
    <p:sldLayoutId id="2147484619" r:id="rId16"/>
    <p:sldLayoutId id="2147484620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3">
          <p15:clr>
            <a:srgbClr val="F26B43"/>
          </p15:clr>
        </p15:guide>
        <p15:guide id="2" pos="3727">
          <p15:clr>
            <a:srgbClr val="F26B43"/>
          </p15:clr>
        </p15:guide>
        <p15:guide id="3" pos="3840">
          <p15:clr>
            <a:srgbClr val="F26B43"/>
          </p15:clr>
        </p15:guide>
        <p15:guide id="4" pos="7469">
          <p15:clr>
            <a:srgbClr val="F26B43"/>
          </p15:clr>
        </p15:guide>
        <p15:guide id="5" pos="211">
          <p15:clr>
            <a:srgbClr val="F26B43"/>
          </p15:clr>
        </p15:guide>
        <p15:guide id="6" orient="horz" pos="482">
          <p15:clr>
            <a:srgbClr val="F26B43"/>
          </p15:clr>
        </p15:guide>
        <p15:guide id="8" orient="horz" pos="640">
          <p15:clr>
            <a:srgbClr val="F26B43"/>
          </p15:clr>
        </p15:guide>
        <p15:guide id="9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eg"/><Relationship Id="rId3" Type="http://schemas.openxmlformats.org/officeDocument/2006/relationships/image" Target="../media/image76.png"/><Relationship Id="rId7" Type="http://schemas.openxmlformats.org/officeDocument/2006/relationships/image" Target="../media/image79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8.jpeg"/><Relationship Id="rId5" Type="http://schemas.openxmlformats.org/officeDocument/2006/relationships/image" Target="../media/image77.jpeg"/><Relationship Id="rId4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5.xml"/><Relationship Id="rId4" Type="http://schemas.microsoft.com/office/2007/relationships/hdphoto" Target="../media/hdphoto3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13" Type="http://schemas.openxmlformats.org/officeDocument/2006/relationships/image" Target="../media/image93.png"/><Relationship Id="rId3" Type="http://schemas.microsoft.com/office/2007/relationships/hdphoto" Target="../media/hdphoto4.wdp"/><Relationship Id="rId7" Type="http://schemas.openxmlformats.org/officeDocument/2006/relationships/image" Target="../media/image87.png"/><Relationship Id="rId12" Type="http://schemas.openxmlformats.org/officeDocument/2006/relationships/image" Target="../media/image92.sv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6.svg"/><Relationship Id="rId11" Type="http://schemas.openxmlformats.org/officeDocument/2006/relationships/image" Target="../media/image91.png"/><Relationship Id="rId5" Type="http://schemas.openxmlformats.org/officeDocument/2006/relationships/image" Target="../media/image85.png"/><Relationship Id="rId10" Type="http://schemas.openxmlformats.org/officeDocument/2006/relationships/image" Target="../media/image90.svg"/><Relationship Id="rId4" Type="http://schemas.openxmlformats.org/officeDocument/2006/relationships/image" Target="../media/image84.png"/><Relationship Id="rId9" Type="http://schemas.openxmlformats.org/officeDocument/2006/relationships/image" Target="../media/image89.png"/><Relationship Id="rId14" Type="http://schemas.openxmlformats.org/officeDocument/2006/relationships/image" Target="../media/image94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2.jpeg"/><Relationship Id="rId5" Type="http://schemas.openxmlformats.org/officeDocument/2006/relationships/image" Target="../media/image101.png"/><Relationship Id="rId4" Type="http://schemas.openxmlformats.org/officeDocument/2006/relationships/image" Target="../media/image10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09.png"/><Relationship Id="rId4" Type="http://schemas.openxmlformats.org/officeDocument/2006/relationships/image" Target="../media/image10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png"/><Relationship Id="rId5" Type="http://schemas.openxmlformats.org/officeDocument/2006/relationships/image" Target="../media/image113.png"/><Relationship Id="rId4" Type="http://schemas.openxmlformats.org/officeDocument/2006/relationships/image" Target="../media/image112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6.jpeg"/><Relationship Id="rId4" Type="http://schemas.openxmlformats.org/officeDocument/2006/relationships/image" Target="../media/image125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2.svg"/><Relationship Id="rId4" Type="http://schemas.openxmlformats.org/officeDocument/2006/relationships/image" Target="../media/image31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1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svg"/><Relationship Id="rId3" Type="http://schemas.openxmlformats.org/officeDocument/2006/relationships/image" Target="../media/image33.jpe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10" Type="http://schemas.openxmlformats.org/officeDocument/2006/relationships/image" Target="../media/image39.svg"/><Relationship Id="rId4" Type="http://schemas.openxmlformats.org/officeDocument/2006/relationships/image" Target="../media/image10.png"/><Relationship Id="rId9" Type="http://schemas.openxmlformats.org/officeDocument/2006/relationships/image" Target="../media/image3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1.png"/><Relationship Id="rId7" Type="http://schemas.openxmlformats.org/officeDocument/2006/relationships/image" Target="../media/image44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3.png"/><Relationship Id="rId5" Type="http://schemas.microsoft.com/office/2007/relationships/hdphoto" Target="../media/hdphoto1.wdp"/><Relationship Id="rId4" Type="http://schemas.openxmlformats.org/officeDocument/2006/relationships/image" Target="../media/image42.png"/><Relationship Id="rId9" Type="http://schemas.openxmlformats.org/officeDocument/2006/relationships/image" Target="../media/image4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svg"/><Relationship Id="rId18" Type="http://schemas.openxmlformats.org/officeDocument/2006/relationships/image" Target="../media/image62.png"/><Relationship Id="rId3" Type="http://schemas.openxmlformats.org/officeDocument/2006/relationships/tags" Target="../tags/tag12.xml"/><Relationship Id="rId21" Type="http://schemas.openxmlformats.org/officeDocument/2006/relationships/image" Target="../media/image65.svg"/><Relationship Id="rId7" Type="http://schemas.openxmlformats.org/officeDocument/2006/relationships/image" Target="../media/image51.svg"/><Relationship Id="rId12" Type="http://schemas.openxmlformats.org/officeDocument/2006/relationships/image" Target="../media/image56.png"/><Relationship Id="rId17" Type="http://schemas.openxmlformats.org/officeDocument/2006/relationships/image" Target="../media/image61.svg"/><Relationship Id="rId25" Type="http://schemas.openxmlformats.org/officeDocument/2006/relationships/image" Target="../media/image1.emf"/><Relationship Id="rId2" Type="http://schemas.openxmlformats.org/officeDocument/2006/relationships/tags" Target="../tags/tag11.xml"/><Relationship Id="rId16" Type="http://schemas.openxmlformats.org/officeDocument/2006/relationships/image" Target="../media/image60.png"/><Relationship Id="rId20" Type="http://schemas.openxmlformats.org/officeDocument/2006/relationships/image" Target="../media/image64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50.png"/><Relationship Id="rId11" Type="http://schemas.openxmlformats.org/officeDocument/2006/relationships/image" Target="../media/image55.svg"/><Relationship Id="rId24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59.svg"/><Relationship Id="rId23" Type="http://schemas.openxmlformats.org/officeDocument/2006/relationships/image" Target="../media/image67.svg"/><Relationship Id="rId10" Type="http://schemas.openxmlformats.org/officeDocument/2006/relationships/image" Target="../media/image54.png"/><Relationship Id="rId19" Type="http://schemas.openxmlformats.org/officeDocument/2006/relationships/image" Target="../media/image63.sv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3.svg"/><Relationship Id="rId14" Type="http://schemas.openxmlformats.org/officeDocument/2006/relationships/image" Target="../media/image58.png"/><Relationship Id="rId22" Type="http://schemas.openxmlformats.org/officeDocument/2006/relationships/image" Target="../media/image6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hyperlink" Target="https://app.powerbi.com/groups/c59cc49c-fc1b-4643-a423-4992ce7500de/reports/5890309a-b7f6-42ea-80f4-25248bbc6058/ReportSectionbe2938e7401847594d10?pbi_source=PowerPoint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1" name="Picture 630" descr="A large mountain in the background&#10;&#10;Description automatically generated">
            <a:extLst>
              <a:ext uri="{FF2B5EF4-FFF2-40B4-BE49-F238E27FC236}">
                <a16:creationId xmlns:a16="http://schemas.microsoft.com/office/drawing/2014/main" id="{880FB852-38A5-4A7A-BCBE-2C51A4F0763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" t="-10"/>
          <a:stretch/>
        </p:blipFill>
        <p:spPr>
          <a:xfrm flipH="1">
            <a:off x="-11360" y="-5912"/>
            <a:ext cx="12202510" cy="6863912"/>
          </a:xfrm>
          <a:prstGeom prst="rect">
            <a:avLst/>
          </a:prstGeom>
        </p:spPr>
      </p:pic>
      <p:sp>
        <p:nvSpPr>
          <p:cNvPr id="632" name="Rectangle 631">
            <a:extLst>
              <a:ext uri="{FF2B5EF4-FFF2-40B4-BE49-F238E27FC236}">
                <a16:creationId xmlns:a16="http://schemas.microsoft.com/office/drawing/2014/main" id="{60416358-28A5-499C-8E3A-CEC585CA6735}"/>
              </a:ext>
            </a:extLst>
          </p:cNvPr>
          <p:cNvSpPr/>
          <p:nvPr/>
        </p:nvSpPr>
        <p:spPr>
          <a:xfrm>
            <a:off x="-17148" y="0"/>
            <a:ext cx="12223312" cy="6858000"/>
          </a:xfrm>
          <a:prstGeom prst="rect">
            <a:avLst/>
          </a:prstGeom>
          <a:gradFill>
            <a:gsLst>
              <a:gs pos="53000">
                <a:srgbClr val="212F3F">
                  <a:alpha val="69000"/>
                </a:srgbClr>
              </a:gs>
              <a:gs pos="0">
                <a:srgbClr val="212F3F"/>
              </a:gs>
              <a:gs pos="100000">
                <a:srgbClr val="212F3F">
                  <a:alpha val="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45" name="Picture 644">
            <a:extLst>
              <a:ext uri="{FF2B5EF4-FFF2-40B4-BE49-F238E27FC236}">
                <a16:creationId xmlns:a16="http://schemas.microsoft.com/office/drawing/2014/main" id="{231550CD-5848-4823-B224-098B6D0F586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374" y="0"/>
            <a:ext cx="1191339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E6CA27-32CB-4F58-B732-5973A3CCF89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9688329" y="0"/>
            <a:ext cx="2517835" cy="2422358"/>
          </a:xfrm>
          <a:prstGeom prst="rect">
            <a:avLst/>
          </a:prstGeom>
        </p:spPr>
      </p:pic>
      <p:sp>
        <p:nvSpPr>
          <p:cNvPr id="643" name="TextBox 642">
            <a:extLst>
              <a:ext uri="{FF2B5EF4-FFF2-40B4-BE49-F238E27FC236}">
                <a16:creationId xmlns:a16="http://schemas.microsoft.com/office/drawing/2014/main" id="{5A664D7C-EEA0-4687-AD76-37EE957E6128}"/>
              </a:ext>
            </a:extLst>
          </p:cNvPr>
          <p:cNvSpPr txBox="1"/>
          <p:nvPr/>
        </p:nvSpPr>
        <p:spPr>
          <a:xfrm>
            <a:off x="7908757" y="5421908"/>
            <a:ext cx="39482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lvl="0" algn="ctr" defTabSz="914400">
              <a:defRPr sz="7200">
                <a:solidFill>
                  <a:prstClr val="white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Pleasure Mnisi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A5CF4C"/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Arial" panose="020B060402020202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A5CF4C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Manager, Business Optimisation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>
                <a:solidFill>
                  <a:srgbClr val="A5CF4C"/>
                </a:solidFill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Exxaro Coa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A5CF4C"/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EC99DA-C9D8-410D-B90B-BF733B93D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4788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F99C97A7-84D1-4CCF-94C9-1030EB536A8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2"/>
          <a:stretch/>
        </p:blipFill>
        <p:spPr>
          <a:xfrm>
            <a:off x="4333314" y="4616492"/>
            <a:ext cx="3955037" cy="21462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  <a:softEdge rad="12700"/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F05E24EE-CC0B-4FB3-B35D-7F5B964731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  <a14:imgEffect>
                      <a14:brightnessContrast bright="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003" y="4616492"/>
            <a:ext cx="3947489" cy="214622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  <a:softEdge rad="12700"/>
          </a:effectLst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E7CB2817-55B7-40F8-AF93-C5D8CAC40B9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2659" y="2320761"/>
            <a:ext cx="3453895" cy="19544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softEdge rad="12700"/>
          </a:effectLst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2D00DBEB-455D-4108-BF9D-BFE05BCA4D3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3315" y="2320761"/>
            <a:ext cx="3953574" cy="19544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softEdge rad="12700"/>
          </a:effectLst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FE715AC-58AC-4B2B-B53C-E59A0FE2FE8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2658" y="4624770"/>
            <a:ext cx="3454379" cy="2137943"/>
          </a:xfrm>
          <a:prstGeom prst="rect">
            <a:avLst/>
          </a:prstGeom>
          <a:noFill/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  <a:softEdge rad="12700"/>
          </a:effectLst>
        </p:spPr>
      </p:pic>
      <p:pic>
        <p:nvPicPr>
          <p:cNvPr id="69" name="Picture 68" descr="A room filled with furniture and a large window&#10;&#10;Description automatically generated">
            <a:extLst>
              <a:ext uri="{FF2B5EF4-FFF2-40B4-BE49-F238E27FC236}">
                <a16:creationId xmlns:a16="http://schemas.microsoft.com/office/drawing/2014/main" id="{18A52B05-D4E4-4B6C-B69A-BF7FB2676C9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003" y="2320761"/>
            <a:ext cx="3953573" cy="19544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softEdge rad="12700"/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2D12F7B-6F6A-413C-937D-719B55E37587}"/>
              </a:ext>
            </a:extLst>
          </p:cNvPr>
          <p:cNvSpPr/>
          <p:nvPr/>
        </p:nvSpPr>
        <p:spPr>
          <a:xfrm>
            <a:off x="0" y="1351638"/>
            <a:ext cx="12192000" cy="540769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91902B-35D1-4713-A737-F2BB145CA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10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7EA44AD-036A-4303-9EAB-F9DCB8B2C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dirty="0"/>
              <a:t>Unlocking Value | </a:t>
            </a:r>
            <a:r>
              <a:rPr lang="en-US" dirty="0"/>
              <a:t>Integrated Operations </a:t>
            </a:r>
            <a:r>
              <a:rPr lang="en-US" dirty="0" err="1"/>
              <a:t>Centres</a:t>
            </a:r>
            <a:br>
              <a:rPr lang="en-US" dirty="0"/>
            </a:br>
            <a:r>
              <a:rPr lang="en-US" dirty="0">
                <a:solidFill>
                  <a:srgbClr val="85C004"/>
                </a:solidFill>
              </a:rPr>
              <a:t>are implemented across all the business units</a:t>
            </a:r>
            <a:endParaRPr lang="es-AR" dirty="0">
              <a:solidFill>
                <a:srgbClr val="85C004"/>
              </a:solidFill>
            </a:endParaRP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173BB8DB-7905-457C-9AC3-08E7521D1D30}"/>
              </a:ext>
            </a:extLst>
          </p:cNvPr>
          <p:cNvSpPr txBox="1">
            <a:spLocks/>
          </p:cNvSpPr>
          <p:nvPr/>
        </p:nvSpPr>
        <p:spPr>
          <a:xfrm>
            <a:off x="433580" y="2006632"/>
            <a:ext cx="3681381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60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</a:rPr>
              <a:t>LEEUWPAN - </a:t>
            </a:r>
            <a:r>
              <a:rPr kumimoji="0" lang="en-ZA" sz="1600" i="0" u="none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ea typeface="+mn-ea"/>
                <a:cs typeface="+mn-cs"/>
              </a:rPr>
              <a:t>Lion Watch</a:t>
            </a:r>
          </a:p>
        </p:txBody>
      </p:sp>
      <p:sp>
        <p:nvSpPr>
          <p:cNvPr id="50" name="Text Placeholder 8">
            <a:extLst>
              <a:ext uri="{FF2B5EF4-FFF2-40B4-BE49-F238E27FC236}">
                <a16:creationId xmlns:a16="http://schemas.microsoft.com/office/drawing/2014/main" id="{A784E679-B074-497B-8590-234959602E2F}"/>
              </a:ext>
            </a:extLst>
          </p:cNvPr>
          <p:cNvSpPr txBox="1">
            <a:spLocks/>
          </p:cNvSpPr>
          <p:nvPr/>
        </p:nvSpPr>
        <p:spPr>
          <a:xfrm>
            <a:off x="4404238" y="4369746"/>
            <a:ext cx="3987780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27305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2pPr>
            <a:lvl3pPr marL="53498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3pPr>
            <a:lvl4pPr marL="80803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4pPr>
            <a:lvl5pPr marL="107950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ZA" sz="1600" dirty="0">
                <a:latin typeface="+mn-lt"/>
                <a:ea typeface="+mn-ea"/>
              </a:rPr>
              <a:t>GROOTEGELUK</a:t>
            </a:r>
            <a:r>
              <a:rPr lang="en-ZA" sz="1200" dirty="0"/>
              <a:t> - </a:t>
            </a:r>
            <a:r>
              <a:rPr lang="en-ZA" sz="1600" dirty="0">
                <a:latin typeface="+mn-lt"/>
                <a:ea typeface="+mn-ea"/>
              </a:rPr>
              <a:t>Ops</a:t>
            </a:r>
            <a:r>
              <a:rPr lang="en-ZA" sz="1200" dirty="0"/>
              <a:t> </a:t>
            </a:r>
            <a:r>
              <a:rPr lang="en-ZA" sz="1600" dirty="0">
                <a:latin typeface="+mn-lt"/>
                <a:ea typeface="+mn-ea"/>
              </a:rPr>
              <a:t>Eye</a:t>
            </a:r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33B5847D-B29D-4DAB-898D-D4561874B791}"/>
              </a:ext>
            </a:extLst>
          </p:cNvPr>
          <p:cNvSpPr txBox="1">
            <a:spLocks/>
          </p:cNvSpPr>
          <p:nvPr/>
        </p:nvSpPr>
        <p:spPr>
          <a:xfrm>
            <a:off x="8402658" y="2018474"/>
            <a:ext cx="3355762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27305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2pPr>
            <a:lvl3pPr marL="53498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3pPr>
            <a:lvl4pPr marL="80803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4pPr>
            <a:lvl5pPr marL="107950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ZA" sz="1600" dirty="0"/>
              <a:t>ECC - Nerve Centre</a:t>
            </a:r>
          </a:p>
        </p:txBody>
      </p:sp>
      <p:sp>
        <p:nvSpPr>
          <p:cNvPr id="53" name="Text Placeholder 8">
            <a:extLst>
              <a:ext uri="{FF2B5EF4-FFF2-40B4-BE49-F238E27FC236}">
                <a16:creationId xmlns:a16="http://schemas.microsoft.com/office/drawing/2014/main" id="{194C4F93-3863-4376-BC61-6C8225D6DBEB}"/>
              </a:ext>
            </a:extLst>
          </p:cNvPr>
          <p:cNvSpPr txBox="1">
            <a:spLocks/>
          </p:cNvSpPr>
          <p:nvPr/>
        </p:nvSpPr>
        <p:spPr>
          <a:xfrm>
            <a:off x="433581" y="4366796"/>
            <a:ext cx="2950561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27305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2pPr>
            <a:lvl3pPr marL="53498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3pPr>
            <a:lvl4pPr marL="80803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4pPr>
            <a:lvl5pPr marL="107950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ZA" sz="1600" dirty="0">
                <a:latin typeface="+mn-lt"/>
                <a:ea typeface="+mn-ea"/>
              </a:rPr>
              <a:t>MAFUBE</a:t>
            </a:r>
            <a:r>
              <a:rPr lang="en-ZA" sz="1200" dirty="0"/>
              <a:t> - </a:t>
            </a:r>
            <a:r>
              <a:rPr lang="en-ZA" sz="1600" dirty="0">
                <a:latin typeface="+mn-lt"/>
                <a:ea typeface="+mn-ea"/>
              </a:rPr>
              <a:t>High</a:t>
            </a:r>
            <a:r>
              <a:rPr lang="en-ZA" sz="1200" dirty="0"/>
              <a:t> </a:t>
            </a:r>
            <a:r>
              <a:rPr lang="en-ZA" sz="1600" dirty="0">
                <a:latin typeface="+mn-lt"/>
                <a:ea typeface="+mn-ea"/>
              </a:rPr>
              <a:t>Point</a:t>
            </a:r>
          </a:p>
        </p:txBody>
      </p:sp>
      <p:sp>
        <p:nvSpPr>
          <p:cNvPr id="54" name="Text Placeholder 8">
            <a:extLst>
              <a:ext uri="{FF2B5EF4-FFF2-40B4-BE49-F238E27FC236}">
                <a16:creationId xmlns:a16="http://schemas.microsoft.com/office/drawing/2014/main" id="{151028B5-17C9-417F-A061-045C51A45AE2}"/>
              </a:ext>
            </a:extLst>
          </p:cNvPr>
          <p:cNvSpPr txBox="1">
            <a:spLocks/>
          </p:cNvSpPr>
          <p:nvPr/>
        </p:nvSpPr>
        <p:spPr>
          <a:xfrm>
            <a:off x="4215287" y="2006632"/>
            <a:ext cx="4217513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27305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2pPr>
            <a:lvl3pPr marL="53498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3pPr>
            <a:lvl4pPr marL="80803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4pPr>
            <a:lvl5pPr marL="107950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ZA" sz="1600" dirty="0"/>
              <a:t>BELFAST - Integrated Operations Hub</a:t>
            </a:r>
          </a:p>
        </p:txBody>
      </p:sp>
      <p:sp>
        <p:nvSpPr>
          <p:cNvPr id="55" name="Text Placeholder 8">
            <a:extLst>
              <a:ext uri="{FF2B5EF4-FFF2-40B4-BE49-F238E27FC236}">
                <a16:creationId xmlns:a16="http://schemas.microsoft.com/office/drawing/2014/main" id="{C5FC86D9-CC4D-461A-AD4A-D8923BD2E575}"/>
              </a:ext>
            </a:extLst>
          </p:cNvPr>
          <p:cNvSpPr txBox="1">
            <a:spLocks/>
          </p:cNvSpPr>
          <p:nvPr/>
        </p:nvSpPr>
        <p:spPr>
          <a:xfrm>
            <a:off x="8182535" y="4366796"/>
            <a:ext cx="3799982" cy="2462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 kumimoji="0" sz="1400" b="1" i="0" u="none" strike="noStrike" cap="none" spc="0" normalizeH="0" baseline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27305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2pPr>
            <a:lvl3pPr marL="53498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3pPr>
            <a:lvl4pPr marL="808038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4pPr>
            <a:lvl5pPr marL="1079500" indent="0" defTabSz="91440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algn="r"/>
            <a:r>
              <a:rPr lang="en-ZA" sz="1600" dirty="0">
                <a:latin typeface="+mn-lt"/>
                <a:ea typeface="+mn-ea"/>
              </a:rPr>
              <a:t>MATLA</a:t>
            </a:r>
            <a:r>
              <a:rPr lang="en-ZA" sz="1200" dirty="0"/>
              <a:t> - </a:t>
            </a:r>
            <a:r>
              <a:rPr lang="en-ZA" sz="1600" dirty="0">
                <a:latin typeface="+mn-lt"/>
                <a:ea typeface="+mn-ea"/>
              </a:rPr>
              <a:t>Integrated</a:t>
            </a:r>
            <a:r>
              <a:rPr lang="en-ZA" sz="1200" dirty="0"/>
              <a:t> </a:t>
            </a:r>
            <a:r>
              <a:rPr lang="en-ZA" sz="1600" dirty="0">
                <a:latin typeface="+mn-lt"/>
                <a:ea typeface="+mn-ea"/>
              </a:rPr>
              <a:t>Operations</a:t>
            </a:r>
            <a:r>
              <a:rPr lang="en-ZA" sz="1200" dirty="0"/>
              <a:t> </a:t>
            </a:r>
            <a:r>
              <a:rPr lang="en-ZA" sz="1600" dirty="0">
                <a:latin typeface="+mn-lt"/>
                <a:ea typeface="+mn-ea"/>
              </a:rPr>
              <a:t>Cent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1E7D5B3-146F-401A-981A-11AB8EB826F1}"/>
              </a:ext>
            </a:extLst>
          </p:cNvPr>
          <p:cNvSpPr/>
          <p:nvPr/>
        </p:nvSpPr>
        <p:spPr>
          <a:xfrm>
            <a:off x="334962" y="1449863"/>
            <a:ext cx="3780000" cy="338554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5CF4C"/>
              </a:buClr>
              <a:buSzTx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Times New Roman" panose="02020603050405020304" pitchFamily="18" charset="0"/>
              </a:rPr>
              <a:t>To drive real time decision making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53F253-644B-4D12-B72A-7C4F015FC2A1}"/>
              </a:ext>
            </a:extLst>
          </p:cNvPr>
          <p:cNvSpPr/>
          <p:nvPr/>
        </p:nvSpPr>
        <p:spPr>
          <a:xfrm>
            <a:off x="4251492" y="1326753"/>
            <a:ext cx="4424654" cy="584775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5CF4C"/>
              </a:buClr>
              <a:buSzTx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Times New Roman" panose="02020603050405020304" pitchFamily="18" charset="0"/>
              </a:rPr>
              <a:t>Drive Market to resource optimisation across the value chain.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C600707-FA3B-4348-99E6-44E016856092}"/>
              </a:ext>
            </a:extLst>
          </p:cNvPr>
          <p:cNvSpPr/>
          <p:nvPr/>
        </p:nvSpPr>
        <p:spPr>
          <a:xfrm>
            <a:off x="8812675" y="1449863"/>
            <a:ext cx="3044361" cy="338554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5CF4C"/>
              </a:buClr>
              <a:buSzTx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Times New Roman" panose="02020603050405020304" pitchFamily="18" charset="0"/>
              </a:rPr>
              <a:t>Removing silos</a:t>
            </a:r>
          </a:p>
        </p:txBody>
      </p:sp>
    </p:spTree>
    <p:extLst>
      <p:ext uri="{BB962C8B-B14F-4D97-AF65-F5344CB8AC3E}">
        <p14:creationId xmlns:p14="http://schemas.microsoft.com/office/powerpoint/2010/main" val="408091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2A4BDB9-F3BB-4F96-BB51-5CD18111AD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25" y="2623"/>
            <a:ext cx="12192000" cy="685537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EAD1622-CD2F-426F-82DE-EF3F6776A7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4" y="72804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3DE82C-19FF-4122-931F-2BD77445347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A2B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A2B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56185EB-9373-4D98-AE38-F74FE757E6A5}"/>
              </a:ext>
            </a:extLst>
          </p:cNvPr>
          <p:cNvSpPr/>
          <p:nvPr/>
        </p:nvSpPr>
        <p:spPr>
          <a:xfrm>
            <a:off x="-16625" y="2623"/>
            <a:ext cx="12192000" cy="6855377"/>
          </a:xfrm>
          <a:prstGeom prst="rect">
            <a:avLst/>
          </a:prstGeom>
          <a:solidFill>
            <a:schemeClr val="tx1"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55E7CA8-4355-43B6-9975-C89FD6D5427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srgbClr val="7BBB38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235" y="320051"/>
            <a:ext cx="8851938" cy="3082896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639EE22-1082-4B0A-AD5C-B4273C066DD5}"/>
              </a:ext>
            </a:extLst>
          </p:cNvPr>
          <p:cNvSpPr txBox="1"/>
          <p:nvPr/>
        </p:nvSpPr>
        <p:spPr>
          <a:xfrm>
            <a:off x="4789254" y="3376788"/>
            <a:ext cx="6168915" cy="584705"/>
          </a:xfrm>
          <a:prstGeom prst="rect">
            <a:avLst/>
          </a:prstGeom>
        </p:spPr>
        <p:txBody>
          <a:bodyPr wrap="square" lIns="0" tIns="45685" rIns="91371" bIns="45685">
            <a:spAutoFit/>
          </a:bodyPr>
          <a:lstStyle>
            <a:defPPr>
              <a:defRPr lang="en-US"/>
            </a:defPPr>
            <a:lvl1pPr marR="0" lvl="0" indent="0" defTabSz="913851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defRPr>
            </a:lvl1pPr>
          </a:lstStyle>
          <a:p>
            <a:pPr marL="0" marR="0" lvl="0" indent="0" algn="l" defTabSz="913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“Connecting Bias for Action”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110C8D4-06FC-431B-A73D-64CFCB40066B}"/>
              </a:ext>
            </a:extLst>
          </p:cNvPr>
          <p:cNvSpPr txBox="1"/>
          <p:nvPr/>
        </p:nvSpPr>
        <p:spPr>
          <a:xfrm>
            <a:off x="4789255" y="4130668"/>
            <a:ext cx="5657072" cy="2753491"/>
          </a:xfrm>
          <a:prstGeom prst="rect">
            <a:avLst/>
          </a:prstGeom>
          <a:noFill/>
        </p:spPr>
        <p:txBody>
          <a:bodyPr wrap="square" lIns="0" tIns="0" rIns="0" bIns="4572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grated Management Platfor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arket to Resource Integratio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grated Plann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hared Resource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85000"/>
                </a:srgb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Functional Integration for </a:t>
            </a:r>
            <a:r>
              <a:rPr kumimoji="0" lang="en-ZA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ussiness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8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Excellenc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600" b="1" i="0" u="none" strike="noStrike" kern="1200" cap="none" spc="0" normalizeH="0" baseline="0" noProof="0" dirty="0">
              <a:ln>
                <a:noFill/>
              </a:ln>
              <a:solidFill>
                <a:srgbClr val="3A2B26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04501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CF1E05CD-57B3-4E8A-A744-DCE87554C3B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rgbClr val="7BBB38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74771" y="5083426"/>
            <a:ext cx="6160977" cy="2055208"/>
          </a:xfrm>
          <a:prstGeom prst="rect">
            <a:avLst/>
          </a:prstGeom>
          <a:noFill/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BAB0EEF-3C19-4433-B7FB-95B6C50E7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81F2BFD-7C12-4390-8C6F-7856034921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dirty="0">
                <a:solidFill>
                  <a:srgbClr val="3A2B26"/>
                </a:solidFill>
              </a:rPr>
              <a:t>Unlocking Value | </a:t>
            </a:r>
            <a:r>
              <a:rPr lang="es-AR" dirty="0"/>
              <a:t>Market2Resource Optimis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0927BA-F363-42F1-B51F-2851B22DFB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9764" y="1551030"/>
            <a:ext cx="3367918" cy="2689001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16439FC-030D-4922-8145-F291352D9130}"/>
              </a:ext>
            </a:extLst>
          </p:cNvPr>
          <p:cNvSpPr/>
          <p:nvPr/>
        </p:nvSpPr>
        <p:spPr>
          <a:xfrm>
            <a:off x="321927" y="4241168"/>
            <a:ext cx="3258471" cy="501355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b="1" dirty="0">
                <a:solidFill>
                  <a:schemeClr val="accent1">
                    <a:lumMod val="50000"/>
                  </a:schemeClr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ining</a:t>
            </a:r>
            <a:endParaRPr lang="en-ZA" b="1" dirty="0">
              <a:solidFill>
                <a:schemeClr val="accent1">
                  <a:lumMod val="50000"/>
                </a:schemeClr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0218F5D-1B21-4091-A505-2CC1BEC49B9F}"/>
              </a:ext>
            </a:extLst>
          </p:cNvPr>
          <p:cNvGrpSpPr/>
          <p:nvPr/>
        </p:nvGrpSpPr>
        <p:grpSpPr>
          <a:xfrm>
            <a:off x="4191577" y="3647538"/>
            <a:ext cx="418376" cy="532297"/>
            <a:chOff x="3791329" y="3454231"/>
            <a:chExt cx="460322" cy="572386"/>
          </a:xfrm>
          <a:solidFill>
            <a:schemeClr val="accent1"/>
          </a:solidFill>
        </p:grpSpPr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1CF77D54-3895-4DD9-8D06-1942773EA889}"/>
                </a:ext>
              </a:extLst>
            </p:cNvPr>
            <p:cNvSpPr/>
            <p:nvPr/>
          </p:nvSpPr>
          <p:spPr>
            <a:xfrm>
              <a:off x="3799894" y="3454231"/>
              <a:ext cx="286804" cy="273305"/>
            </a:xfrm>
            <a:prstGeom prst="triangl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6677E56E-F727-4026-9CEF-F1E82CB61306}"/>
                </a:ext>
              </a:extLst>
            </p:cNvPr>
            <p:cNvSpPr/>
            <p:nvPr/>
          </p:nvSpPr>
          <p:spPr>
            <a:xfrm>
              <a:off x="3964847" y="3590884"/>
              <a:ext cx="286804" cy="273305"/>
            </a:xfrm>
            <a:prstGeom prst="triangl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/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85D69C79-62FD-41A1-BEEF-B74D5A717768}"/>
                </a:ext>
              </a:extLst>
            </p:cNvPr>
            <p:cNvSpPr/>
            <p:nvPr/>
          </p:nvSpPr>
          <p:spPr>
            <a:xfrm>
              <a:off x="3791329" y="3753312"/>
              <a:ext cx="286804" cy="273305"/>
            </a:xfrm>
            <a:prstGeom prst="triangl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0B05F25-953F-464A-89F8-E60EAE69BAA4}"/>
              </a:ext>
            </a:extLst>
          </p:cNvPr>
          <p:cNvSpPr/>
          <p:nvPr/>
        </p:nvSpPr>
        <p:spPr>
          <a:xfrm>
            <a:off x="4613562" y="4241168"/>
            <a:ext cx="1545433" cy="500505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b="1" dirty="0">
                <a:solidFill>
                  <a:schemeClr val="accent4">
                    <a:lumMod val="50000"/>
                  </a:schemeClr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ogistics</a:t>
            </a:r>
            <a:endParaRPr lang="en-ZA" b="1" dirty="0">
              <a:solidFill>
                <a:schemeClr val="accent4">
                  <a:lumMod val="50000"/>
                </a:schemeClr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0737423-4C0B-42D7-A70A-0C3DF815897D}"/>
              </a:ext>
            </a:extLst>
          </p:cNvPr>
          <p:cNvGrpSpPr/>
          <p:nvPr/>
        </p:nvGrpSpPr>
        <p:grpSpPr>
          <a:xfrm>
            <a:off x="6340208" y="3659523"/>
            <a:ext cx="418376" cy="532297"/>
            <a:chOff x="3791329" y="3454231"/>
            <a:chExt cx="460322" cy="572386"/>
          </a:xfrm>
          <a:solidFill>
            <a:schemeClr val="accent1"/>
          </a:solidFill>
        </p:grpSpPr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FBFC5EAA-59F4-4889-ABFB-2D117CCA718E}"/>
                </a:ext>
              </a:extLst>
            </p:cNvPr>
            <p:cNvSpPr/>
            <p:nvPr/>
          </p:nvSpPr>
          <p:spPr>
            <a:xfrm>
              <a:off x="3799894" y="3454231"/>
              <a:ext cx="286804" cy="273305"/>
            </a:xfrm>
            <a:prstGeom prst="triangl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93577D39-3B83-4162-AA8F-3F9984B88280}"/>
                </a:ext>
              </a:extLst>
            </p:cNvPr>
            <p:cNvSpPr/>
            <p:nvPr/>
          </p:nvSpPr>
          <p:spPr>
            <a:xfrm>
              <a:off x="3964847" y="3590884"/>
              <a:ext cx="286804" cy="273305"/>
            </a:xfrm>
            <a:prstGeom prst="triangl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11DC9849-B151-4600-95F4-06101FF4ACD9}"/>
                </a:ext>
              </a:extLst>
            </p:cNvPr>
            <p:cNvSpPr/>
            <p:nvPr/>
          </p:nvSpPr>
          <p:spPr>
            <a:xfrm>
              <a:off x="3791329" y="3753312"/>
              <a:ext cx="286804" cy="273305"/>
            </a:xfrm>
            <a:prstGeom prst="triangle">
              <a:avLst/>
            </a:prstGeom>
            <a:grp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1A1C858-DE82-4ACF-BEF7-EDA53A035E06}"/>
              </a:ext>
            </a:extLst>
          </p:cNvPr>
          <p:cNvSpPr/>
          <p:nvPr/>
        </p:nvSpPr>
        <p:spPr>
          <a:xfrm>
            <a:off x="7592364" y="4241168"/>
            <a:ext cx="2465011" cy="500505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b="1" dirty="0">
                <a:solidFill>
                  <a:schemeClr val="accent4">
                    <a:lumMod val="50000"/>
                  </a:schemeClr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ort and Shipping</a:t>
            </a:r>
            <a:endParaRPr lang="en-ZA" b="1" dirty="0">
              <a:solidFill>
                <a:schemeClr val="accent4">
                  <a:lumMod val="50000"/>
                </a:schemeClr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C8F6504-C732-4521-A07D-CFA4733C6AED}"/>
              </a:ext>
            </a:extLst>
          </p:cNvPr>
          <p:cNvSpPr/>
          <p:nvPr/>
        </p:nvSpPr>
        <p:spPr>
          <a:xfrm>
            <a:off x="3889056" y="3079342"/>
            <a:ext cx="94929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400" b="1" dirty="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lending</a:t>
            </a:r>
          </a:p>
          <a:p>
            <a:pPr algn="ctr"/>
            <a:r>
              <a:rPr lang="en-GB" sz="1400" b="1" dirty="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tions </a:t>
            </a:r>
            <a:endParaRPr lang="en-ZA" sz="1400" b="1" dirty="0">
              <a:solidFill>
                <a:schemeClr val="accent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1BE9B74-87CF-4CDA-A31D-F47EB8873B5A}"/>
              </a:ext>
            </a:extLst>
          </p:cNvPr>
          <p:cNvSpPr/>
          <p:nvPr/>
        </p:nvSpPr>
        <p:spPr>
          <a:xfrm>
            <a:off x="5805655" y="3079342"/>
            <a:ext cx="14701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400" b="1" dirty="0">
                <a:solidFill>
                  <a:schemeClr val="accent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lending options </a:t>
            </a:r>
            <a:endParaRPr lang="en-ZA" sz="1400" b="1" dirty="0">
              <a:solidFill>
                <a:schemeClr val="accent1"/>
              </a:solidFill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538F461E-5A02-477C-BEBF-0DD0EE3F1B5E}"/>
              </a:ext>
            </a:extLst>
          </p:cNvPr>
          <p:cNvSpPr/>
          <p:nvPr/>
        </p:nvSpPr>
        <p:spPr>
          <a:xfrm rot="10800000" flipH="1">
            <a:off x="1742978" y="5112906"/>
            <a:ext cx="9477348" cy="595851"/>
          </a:xfrm>
          <a:prstGeom prst="rightArrow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ZA" sz="14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34B176B-B15C-4786-B84F-56562F4912D2}"/>
              </a:ext>
            </a:extLst>
          </p:cNvPr>
          <p:cNvSpPr/>
          <p:nvPr/>
        </p:nvSpPr>
        <p:spPr>
          <a:xfrm>
            <a:off x="1742978" y="5227637"/>
            <a:ext cx="950227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We are using “</a:t>
            </a:r>
            <a:r>
              <a:rPr lang="en-GB" sz="1600" b="1" dirty="0" err="1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igital@Exxaro</a:t>
            </a:r>
            <a:r>
              <a:rPr lang="en-GB" sz="1600" b="1" dirty="0">
                <a:solidFill>
                  <a:schemeClr val="bg1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” to close value leaks across the business value chain </a:t>
            </a:r>
            <a:endParaRPr lang="en-ZA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11A068-23BB-4A27-85D1-E8E19352621A}"/>
              </a:ext>
            </a:extLst>
          </p:cNvPr>
          <p:cNvSpPr/>
          <p:nvPr/>
        </p:nvSpPr>
        <p:spPr>
          <a:xfrm>
            <a:off x="9146160" y="1634225"/>
            <a:ext cx="271087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dirty="0"/>
              <a:t>Using </a:t>
            </a:r>
            <a:r>
              <a:rPr lang="en-US" sz="1400" b="1" dirty="0"/>
              <a:t>Data science and AI </a:t>
            </a:r>
            <a:r>
              <a:rPr lang="en-US" sz="1400" dirty="0"/>
              <a:t>to gather intelligence on markets for efficient resource optimisation (positioning &amp; pricing)</a:t>
            </a:r>
            <a:endParaRPr lang="en-ZA" sz="14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DE424F-1809-4D40-B832-44D245420C78}"/>
              </a:ext>
            </a:extLst>
          </p:cNvPr>
          <p:cNvSpPr/>
          <p:nvPr/>
        </p:nvSpPr>
        <p:spPr>
          <a:xfrm>
            <a:off x="3580398" y="1657310"/>
            <a:ext cx="245483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1400" b="1" dirty="0"/>
              <a:t>Digitally Integrated Mine Planning </a:t>
            </a:r>
            <a:r>
              <a:rPr lang="en-ZA" sz="1400" dirty="0"/>
              <a:t>to optimise </a:t>
            </a:r>
            <a:r>
              <a:rPr lang="en-ZA" sz="1400" b="1" dirty="0"/>
              <a:t>product mix </a:t>
            </a:r>
            <a:r>
              <a:rPr lang="en-ZA" sz="1400" dirty="0"/>
              <a:t>and sal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8642627-4949-4D94-A24E-B34FA5DFEE2D}"/>
              </a:ext>
            </a:extLst>
          </p:cNvPr>
          <p:cNvSpPr/>
          <p:nvPr/>
        </p:nvSpPr>
        <p:spPr>
          <a:xfrm>
            <a:off x="6053810" y="1656392"/>
            <a:ext cx="277105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1400" b="1" dirty="0"/>
              <a:t>Real Time Visualisation </a:t>
            </a:r>
            <a:r>
              <a:rPr lang="en-ZA" sz="1400" dirty="0"/>
              <a:t>of our </a:t>
            </a:r>
            <a:r>
              <a:rPr lang="en-ZA" sz="1400" b="1" dirty="0"/>
              <a:t>ore</a:t>
            </a:r>
            <a:r>
              <a:rPr lang="en-ZA" sz="1400" dirty="0"/>
              <a:t>, integrating TFR &amp; Logics for </a:t>
            </a:r>
            <a:r>
              <a:rPr lang="en-ZA" sz="1400" b="1" dirty="0"/>
              <a:t>optimal decision making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C6E683-DCB0-4C36-B70D-4919D97AE7B8}"/>
              </a:ext>
            </a:extLst>
          </p:cNvPr>
          <p:cNvGrpSpPr/>
          <p:nvPr/>
        </p:nvGrpSpPr>
        <p:grpSpPr>
          <a:xfrm>
            <a:off x="2173371" y="1040645"/>
            <a:ext cx="9046955" cy="546023"/>
            <a:chOff x="2193502" y="1415679"/>
            <a:chExt cx="8779605" cy="546023"/>
          </a:xfrm>
        </p:grpSpPr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D469D983-C0C7-473D-BAA4-552C79BB657B}"/>
                </a:ext>
              </a:extLst>
            </p:cNvPr>
            <p:cNvSpPr/>
            <p:nvPr/>
          </p:nvSpPr>
          <p:spPr>
            <a:xfrm flipH="1">
              <a:off x="2193502" y="1415679"/>
              <a:ext cx="8779605" cy="546023"/>
            </a:xfrm>
            <a:prstGeom prst="rightArrow">
              <a:avLst/>
            </a:prstGeom>
            <a:solidFill>
              <a:schemeClr val="tx2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ZA" sz="1400"/>
            </a:p>
          </p:txBody>
        </p:sp>
        <p:sp>
          <p:nvSpPr>
            <p:cNvPr id="37" name="Text Box 18">
              <a:extLst>
                <a:ext uri="{FF2B5EF4-FFF2-40B4-BE49-F238E27FC236}">
                  <a16:creationId xmlns:a16="http://schemas.microsoft.com/office/drawing/2014/main" id="{E899CEBB-57C6-4A3F-B9E0-B0073550B2B7}"/>
                </a:ext>
              </a:extLst>
            </p:cNvPr>
            <p:cNvSpPr txBox="1"/>
            <p:nvPr/>
          </p:nvSpPr>
          <p:spPr>
            <a:xfrm>
              <a:off x="2711853" y="1519778"/>
              <a:ext cx="8067017" cy="338554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defRPr>
              </a:lvl1pPr>
            </a:lstStyle>
            <a:p>
              <a:r>
                <a:rPr lang="en-GB" sz="1600" b="1" dirty="0">
                  <a:solidFill>
                    <a:schemeClr val="bg1"/>
                  </a:solidFill>
                  <a:latin typeface="+mj-lt"/>
                </a:rPr>
                <a:t>Using Artificial Intelligence to scan the market to guide the optimal product mix</a:t>
              </a:r>
              <a:endParaRPr lang="en-ZA" sz="16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D029A4AA-DD23-4421-926D-F1D4B3160269}"/>
              </a:ext>
            </a:extLst>
          </p:cNvPr>
          <p:cNvSpPr/>
          <p:nvPr/>
        </p:nvSpPr>
        <p:spPr>
          <a:xfrm>
            <a:off x="10170341" y="4199351"/>
            <a:ext cx="1545433" cy="42094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sz="1400" b="1" dirty="0">
                <a:solidFill>
                  <a:srgbClr val="5FA0BB"/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MARKET</a:t>
            </a:r>
            <a:endParaRPr lang="en-ZA" sz="1400" b="1" dirty="0">
              <a:solidFill>
                <a:srgbClr val="5FA0BB"/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6038B462-A9D2-4C31-99B0-41E147C9C57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514290" y="3115236"/>
            <a:ext cx="771064" cy="896858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1F8364C9-B469-4420-AFD4-C002098ABF0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213297" y="3062318"/>
            <a:ext cx="1326757" cy="1326757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F4B4932A-CE0B-4BE5-BEAE-50C0BD4240B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25289" y="2510958"/>
            <a:ext cx="946527" cy="946527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B4C881C9-288A-41F5-8D5F-14EF291F34A9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114843" y="3202182"/>
            <a:ext cx="519857" cy="562767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EB8067E2-3532-40B9-B560-34B78A85ED70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111006" y="3809980"/>
            <a:ext cx="703135" cy="417486"/>
          </a:xfrm>
          <a:prstGeom prst="rect">
            <a:avLst/>
          </a:prstGeom>
        </p:spPr>
      </p:pic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B07C7E80-8891-4C9E-9B2C-C257A57A7319}"/>
              </a:ext>
            </a:extLst>
          </p:cNvPr>
          <p:cNvSpPr/>
          <p:nvPr/>
        </p:nvSpPr>
        <p:spPr>
          <a:xfrm>
            <a:off x="3586900" y="4701836"/>
            <a:ext cx="8292787" cy="500505"/>
          </a:xfrm>
          <a:prstGeom prst="roundRect">
            <a:avLst/>
          </a:prstGeom>
          <a:noFill/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</a:pPr>
            <a:r>
              <a:rPr lang="en-GB" b="1" i="1" dirty="0">
                <a:solidFill>
                  <a:schemeClr val="accent4">
                    <a:lumMod val="50000"/>
                  </a:schemeClr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O</a:t>
            </a:r>
            <a:r>
              <a:rPr lang="en-GB" b="1" i="1" dirty="0">
                <a:solidFill>
                  <a:schemeClr val="accent4">
                    <a:lumMod val="50000"/>
                  </a:schemeClr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portunities</a:t>
            </a:r>
            <a:r>
              <a:rPr lang="en-GB" b="1" i="1" dirty="0">
                <a:solidFill>
                  <a:schemeClr val="accent4">
                    <a:lumMod val="50000"/>
                  </a:schemeClr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to </a:t>
            </a:r>
            <a:r>
              <a:rPr lang="en-GB" b="1" i="1" dirty="0">
                <a:solidFill>
                  <a:schemeClr val="accent4">
                    <a:lumMod val="50000"/>
                  </a:schemeClr>
                </a:solidFill>
                <a:effectLst/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everage blockchain to manage outbound logistics</a:t>
            </a:r>
            <a:endParaRPr lang="en-ZA" b="1" i="1" dirty="0">
              <a:solidFill>
                <a:schemeClr val="accent4">
                  <a:lumMod val="50000"/>
                </a:schemeClr>
              </a:solidFill>
              <a:effectLst/>
              <a:latin typeface="+mj-lt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12F9F08-F7C6-4F6F-82BC-2CC6BB7BEE98}"/>
              </a:ext>
            </a:extLst>
          </p:cNvPr>
          <p:cNvSpPr/>
          <p:nvPr/>
        </p:nvSpPr>
        <p:spPr>
          <a:xfrm>
            <a:off x="498693" y="4666451"/>
            <a:ext cx="29761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accent1">
                    <a:lumMod val="50000"/>
                  </a:schemeClr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Value Chain Visualisation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362502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0B324CD1-0AC5-4159-89D0-110B9232DE9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3112"/>
          <a:stretch/>
        </p:blipFill>
        <p:spPr>
          <a:xfrm>
            <a:off x="0" y="795338"/>
            <a:ext cx="11296648" cy="606266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944CB09-9315-4437-A187-14C43922D0A6}"/>
              </a:ext>
            </a:extLst>
          </p:cNvPr>
          <p:cNvSpPr/>
          <p:nvPr/>
        </p:nvSpPr>
        <p:spPr>
          <a:xfrm>
            <a:off x="7315201" y="2294021"/>
            <a:ext cx="4876800" cy="405121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C3C473-3FCC-45C6-9C7E-FA5E59D0A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B60AB8-2FD4-4B26-ACAA-E7CADB3B8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242887"/>
            <a:ext cx="11177483" cy="809625"/>
          </a:xfrm>
        </p:spPr>
        <p:txBody>
          <a:bodyPr/>
          <a:lstStyle/>
          <a:p>
            <a:r>
              <a:rPr lang="en-US" sz="2800" b="0" dirty="0"/>
              <a:t>Unlocking Value | </a:t>
            </a:r>
            <a:r>
              <a:rPr lang="en-GB" dirty="0"/>
              <a:t>Underground Real Time Decision Making	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9858403-861C-47BC-B699-CB06091BDC8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2084" y="4859576"/>
            <a:ext cx="4204954" cy="120308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EC70A806-280A-4F9A-83B1-9F5982028FF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52084" y="2634323"/>
            <a:ext cx="4204954" cy="2002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525984"/>
      </p:ext>
    </p:extLst>
  </p:cSld>
  <p:clrMapOvr>
    <a:masterClrMapping/>
  </p:clrMapOvr>
  <p:transition spd="slow">
    <p:push dir="u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464FC034-7853-49C0-8DB7-62251FDA402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7" y="3991781"/>
            <a:ext cx="4328541" cy="2345043"/>
          </a:xfrm>
          <a:prstGeom prst="rect">
            <a:avLst/>
          </a:prstGeom>
        </p:spPr>
      </p:pic>
      <p:pic>
        <p:nvPicPr>
          <p:cNvPr id="17" name="Picture 6" descr="http://www.autolectron.co.za/wpimages/wp9bb3673d_06.png">
            <a:extLst>
              <a:ext uri="{FF2B5EF4-FFF2-40B4-BE49-F238E27FC236}">
                <a16:creationId xmlns:a16="http://schemas.microsoft.com/office/drawing/2014/main" id="{6A2FB6A4-6F3C-4C1E-B433-D55B6D99F3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49411" y="1195565"/>
            <a:ext cx="4484410" cy="3215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2B73524-7715-457F-947D-622A862E653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04310" y="4039808"/>
            <a:ext cx="3983382" cy="22970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ADAA4526-B90E-46F1-9654-DC6F622CAB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033182" y="1215013"/>
            <a:ext cx="4484411" cy="2993248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2B3635F-67A2-4EEA-BB5D-C88400E7514C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7691" y="1224609"/>
            <a:ext cx="4127455" cy="306881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D2DB06-1B5C-4DE5-8E26-69DDB6C23E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42887"/>
            <a:ext cx="10681380" cy="981722"/>
          </a:xfrm>
        </p:spPr>
        <p:txBody>
          <a:bodyPr>
            <a:noAutofit/>
          </a:bodyPr>
          <a:lstStyle/>
          <a:p>
            <a:r>
              <a:rPr lang="en-US" sz="2800" b="0" dirty="0">
                <a:solidFill>
                  <a:srgbClr val="3A2B26"/>
                </a:solidFill>
              </a:rPr>
              <a:t>Unlocking Value </a:t>
            </a:r>
            <a:r>
              <a:rPr lang="en-US" sz="2500" b="0" dirty="0">
                <a:solidFill>
                  <a:srgbClr val="3A2B26"/>
                </a:solidFill>
              </a:rPr>
              <a:t>| </a:t>
            </a:r>
            <a:r>
              <a:rPr lang="en-US" dirty="0"/>
              <a:t>Using</a:t>
            </a:r>
            <a:r>
              <a:rPr lang="en-US" sz="2500" b="0" dirty="0">
                <a:solidFill>
                  <a:srgbClr val="3A2B26"/>
                </a:solidFill>
              </a:rPr>
              <a:t> </a:t>
            </a:r>
            <a:r>
              <a:rPr lang="en-US" dirty="0"/>
              <a:t>Data Science for Predictive Maintenance and Analytics (Digital Twin )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7E8D257-43EC-499E-B5B9-33C1BAF47949}"/>
              </a:ext>
            </a:extLst>
          </p:cNvPr>
          <p:cNvSpPr/>
          <p:nvPr/>
        </p:nvSpPr>
        <p:spPr>
          <a:xfrm>
            <a:off x="8087691" y="4217857"/>
            <a:ext cx="4104309" cy="2127382"/>
          </a:xfrm>
          <a:prstGeom prst="rect">
            <a:avLst/>
          </a:prstGeom>
          <a:solidFill>
            <a:srgbClr val="A5CF4C"/>
          </a:solidFill>
          <a:ln w="762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f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A1DBB4-BFFF-4C02-91F0-110AB818A4CB}"/>
              </a:ext>
            </a:extLst>
          </p:cNvPr>
          <p:cNvSpPr/>
          <p:nvPr/>
        </p:nvSpPr>
        <p:spPr>
          <a:xfrm>
            <a:off x="8454624" y="4368998"/>
            <a:ext cx="331291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Data Science Analytics</a:t>
            </a:r>
            <a:r>
              <a:rPr kumimoji="0" lang="en-ZA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: can be run and visualised via smart devices, virtual reality and augmented reality (AR) to provide operational intelligenc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E58207-DDC3-414B-9318-6857D6B415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639617"/>
      </p:ext>
    </p:extLst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9F22892-5766-4FA1-8D3B-447D83AF0373}"/>
              </a:ext>
            </a:extLst>
          </p:cNvPr>
          <p:cNvSpPr/>
          <p:nvPr/>
        </p:nvSpPr>
        <p:spPr>
          <a:xfrm>
            <a:off x="3777745" y="1540461"/>
            <a:ext cx="4350056" cy="435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61AB8F6-218D-4C81-BA5C-693106506519}"/>
              </a:ext>
            </a:extLst>
          </p:cNvPr>
          <p:cNvSpPr/>
          <p:nvPr/>
        </p:nvSpPr>
        <p:spPr>
          <a:xfrm>
            <a:off x="3755169" y="4170358"/>
            <a:ext cx="4491874" cy="435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8CBD36CA-1B96-45D1-A456-25858F6F58C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772396" y="2312447"/>
            <a:ext cx="5337176" cy="3792387"/>
          </a:xfrm>
          <a:prstGeom prst="rect">
            <a:avLst/>
          </a:prstGeom>
        </p:spPr>
      </p:pic>
      <p:sp>
        <p:nvSpPr>
          <p:cNvPr id="52" name="Rectangle 51">
            <a:extLst>
              <a:ext uri="{FF2B5EF4-FFF2-40B4-BE49-F238E27FC236}">
                <a16:creationId xmlns:a16="http://schemas.microsoft.com/office/drawing/2014/main" id="{A9046EC1-AB36-4783-AF1D-304F9AAA6BE8}"/>
              </a:ext>
            </a:extLst>
          </p:cNvPr>
          <p:cNvSpPr/>
          <p:nvPr/>
        </p:nvSpPr>
        <p:spPr>
          <a:xfrm>
            <a:off x="3755169" y="2006919"/>
            <a:ext cx="4350056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n-line (real time) radiometric coal ash content analyser, to help with quality monitoring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racing the loss of product to the discard (Misplacement)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sed as an indicator to process inefficiencies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Assist Plant and Geologist for better planning and decision making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B405EC-090C-432B-B02E-80D9E7EE01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42887"/>
            <a:ext cx="10681380" cy="809625"/>
          </a:xfrm>
        </p:spPr>
        <p:txBody>
          <a:bodyPr/>
          <a:lstStyle/>
          <a:p>
            <a:r>
              <a:rPr lang="en-US" sz="2800" b="0" dirty="0">
                <a:solidFill>
                  <a:srgbClr val="3A2B26"/>
                </a:solidFill>
              </a:rPr>
              <a:t>Unlocking Value | </a:t>
            </a:r>
            <a:r>
              <a:rPr lang="es-AR" dirty="0"/>
              <a:t>Mineral </a:t>
            </a:r>
            <a:r>
              <a:rPr lang="es-AR" dirty="0" err="1"/>
              <a:t>Resource</a:t>
            </a:r>
            <a:r>
              <a:rPr lang="es-AR" dirty="0"/>
              <a:t> </a:t>
            </a:r>
            <a:r>
              <a:rPr lang="es-AR" dirty="0" err="1"/>
              <a:t>Integration</a:t>
            </a:r>
            <a:endParaRPr lang="es-AR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3153A6-8CAC-4CE4-AA14-CAD631B2EF9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Business unit MVPs recently concluded.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F247185-A6A2-4B2F-9EA0-81F08A9E9463}"/>
              </a:ext>
            </a:extLst>
          </p:cNvPr>
          <p:cNvSpPr/>
          <p:nvPr/>
        </p:nvSpPr>
        <p:spPr>
          <a:xfrm>
            <a:off x="3777745" y="4647520"/>
            <a:ext cx="429245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se drones to map, measure and share accurate information about worksites and assets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t accurate, up-to-date topographic survey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0A0A0A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alculate overall material volumes added or removed from pits, stockpile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easure distances, slopes and heights</a:t>
            </a:r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F9CD87F0-5B47-457D-A69D-BF84D8037299}"/>
              </a:ext>
            </a:extLst>
          </p:cNvPr>
          <p:cNvSpPr txBox="1">
            <a:spLocks/>
          </p:cNvSpPr>
          <p:nvPr/>
        </p:nvSpPr>
        <p:spPr>
          <a:xfrm>
            <a:off x="4412258" y="1561370"/>
            <a:ext cx="3087735" cy="435344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Black" panose="02000000000000000000" pitchFamily="2" charset="0"/>
                <a:ea typeface="+mn-ea"/>
                <a:cs typeface="+mn-cs"/>
              </a:rPr>
              <a:t>LEEUWPAN – ENELEX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474EB4C-B20E-41D6-BA58-C9AC8B2BB5FC}"/>
              </a:ext>
            </a:extLst>
          </p:cNvPr>
          <p:cNvGrpSpPr/>
          <p:nvPr/>
        </p:nvGrpSpPr>
        <p:grpSpPr>
          <a:xfrm>
            <a:off x="8119866" y="1520823"/>
            <a:ext cx="4122054" cy="5426185"/>
            <a:chOff x="8745211" y="2241718"/>
            <a:chExt cx="3574421" cy="4705292"/>
          </a:xfrm>
        </p:grpSpPr>
        <p:pic>
          <p:nvPicPr>
            <p:cNvPr id="26" name="Picture 2" descr="image002">
              <a:extLst>
                <a:ext uri="{FF2B5EF4-FFF2-40B4-BE49-F238E27FC236}">
                  <a16:creationId xmlns:a16="http://schemas.microsoft.com/office/drawing/2014/main" id="{506A715A-1E36-4952-879C-7578210D0F0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745211" y="4572447"/>
              <a:ext cx="3544053" cy="2374563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softEdge rad="3175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4" descr="image004">
              <a:extLst>
                <a:ext uri="{FF2B5EF4-FFF2-40B4-BE49-F238E27FC236}">
                  <a16:creationId xmlns:a16="http://schemas.microsoft.com/office/drawing/2014/main" id="{01A643AB-2581-46F0-B889-56C131EDAD2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745211" y="2241718"/>
              <a:ext cx="3574421" cy="2374563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softEdge rad="3175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96D56306-28F8-41C6-BA55-85D0994392E3}"/>
              </a:ext>
            </a:extLst>
          </p:cNvPr>
          <p:cNvSpPr txBox="1">
            <a:spLocks/>
          </p:cNvSpPr>
          <p:nvPr/>
        </p:nvSpPr>
        <p:spPr>
          <a:xfrm>
            <a:off x="4350366" y="4209769"/>
            <a:ext cx="3204815" cy="375435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Black" panose="02000000000000000000" pitchFamily="2" charset="0"/>
                <a:ea typeface="+mn-ea"/>
                <a:cs typeface="+mn-cs"/>
              </a:rPr>
              <a:t>BELFAST - Trimble Stratus</a:t>
            </a:r>
          </a:p>
        </p:txBody>
      </p:sp>
    </p:spTree>
    <p:extLst>
      <p:ext uri="{BB962C8B-B14F-4D97-AF65-F5344CB8AC3E}">
        <p14:creationId xmlns:p14="http://schemas.microsoft.com/office/powerpoint/2010/main" val="61040425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ACC7408-5C1A-4B61-A0F0-D2DE796ABF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205" y="2248112"/>
            <a:ext cx="5856595" cy="374493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C25AA5E-4A5F-4FC3-BA1A-27FB01C335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542654"/>
            <a:ext cx="6774889" cy="299454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DA5B38-5EE0-44B0-AD04-C3D5F73C524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18966" y="2183660"/>
            <a:ext cx="5215711" cy="361260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E537939-FED7-4533-BCB1-C952BBD326A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1205" y="2585932"/>
            <a:ext cx="5203795" cy="2604858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9C165D5B-685A-42A7-BA37-AAA19D42F975}"/>
              </a:ext>
            </a:extLst>
          </p:cNvPr>
          <p:cNvSpPr txBox="1">
            <a:spLocks/>
          </p:cNvSpPr>
          <p:nvPr/>
        </p:nvSpPr>
        <p:spPr>
          <a:xfrm>
            <a:off x="334963" y="29116"/>
            <a:ext cx="11485561" cy="753601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0" dirty="0" err="1">
                <a:solidFill>
                  <a:srgbClr val="3A2B26"/>
                </a:solidFill>
              </a:rPr>
              <a:t>Digital@Exxaro</a:t>
            </a:r>
            <a:r>
              <a:rPr lang="en-US" sz="2800" b="0" dirty="0">
                <a:solidFill>
                  <a:srgbClr val="3A2B26"/>
                </a:solidFill>
              </a:rPr>
              <a:t>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B8A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│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6B8A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/>
              <a:t>Mineral Resource Integration</a:t>
            </a:r>
            <a:r>
              <a:rPr lang="en-US" sz="3500" dirty="0"/>
              <a:t>	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9D966D9-34E1-4CB2-9A55-2BD192D2BFE4}"/>
              </a:ext>
            </a:extLst>
          </p:cNvPr>
          <p:cNvGrpSpPr/>
          <p:nvPr/>
        </p:nvGrpSpPr>
        <p:grpSpPr>
          <a:xfrm flipH="1">
            <a:off x="11135073" y="-112589"/>
            <a:ext cx="1683530" cy="1509616"/>
            <a:chOff x="45719" y="255271"/>
            <a:chExt cx="1683530" cy="150961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98D1EDA7-343D-4386-8575-0B7D1099E288}"/>
                </a:ext>
              </a:extLst>
            </p:cNvPr>
            <p:cNvGrpSpPr/>
            <p:nvPr/>
          </p:nvGrpSpPr>
          <p:grpSpPr>
            <a:xfrm rot="2700000">
              <a:off x="45719" y="484727"/>
              <a:ext cx="1280160" cy="1280160"/>
              <a:chOff x="2358572" y="1016001"/>
              <a:chExt cx="856342" cy="856342"/>
            </a:xfrm>
            <a:effectLst>
              <a:glow rad="152400">
                <a:schemeClr val="tx1">
                  <a:alpha val="10000"/>
                </a:schemeClr>
              </a:glow>
            </a:effectLst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A3CC5B89-EE67-41B6-B18C-5C5D2F520EB5}"/>
                  </a:ext>
                </a:extLst>
              </p:cNvPr>
              <p:cNvCxnSpPr/>
              <p:nvPr/>
            </p:nvCxnSpPr>
            <p:spPr>
              <a:xfrm flipH="1">
                <a:off x="2786743" y="1016001"/>
                <a:ext cx="0" cy="856342"/>
              </a:xfrm>
              <a:prstGeom prst="line">
                <a:avLst/>
              </a:prstGeom>
              <a:ln w="2540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75EEB05A-3562-4E6C-A74F-A3B03020F4F2}"/>
                  </a:ext>
                </a:extLst>
              </p:cNvPr>
              <p:cNvCxnSpPr/>
              <p:nvPr/>
            </p:nvCxnSpPr>
            <p:spPr>
              <a:xfrm rot="5400000" flipH="1">
                <a:off x="2786743" y="986972"/>
                <a:ext cx="0" cy="856342"/>
              </a:xfrm>
              <a:prstGeom prst="line">
                <a:avLst/>
              </a:prstGeom>
              <a:ln w="2540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DD42A85-0991-4822-90D3-280B00431A47}"/>
                </a:ext>
              </a:extLst>
            </p:cNvPr>
            <p:cNvGrpSpPr/>
            <p:nvPr/>
          </p:nvGrpSpPr>
          <p:grpSpPr>
            <a:xfrm rot="2700000">
              <a:off x="814849" y="255271"/>
              <a:ext cx="914400" cy="914400"/>
              <a:chOff x="2358572" y="1016001"/>
              <a:chExt cx="856342" cy="856342"/>
            </a:xfrm>
            <a:effectLst/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F10C0A6B-E67F-4ECC-88B3-2239F24AEB63}"/>
                  </a:ext>
                </a:extLst>
              </p:cNvPr>
              <p:cNvCxnSpPr/>
              <p:nvPr/>
            </p:nvCxnSpPr>
            <p:spPr>
              <a:xfrm flipH="1">
                <a:off x="2786743" y="1016001"/>
                <a:ext cx="0" cy="856342"/>
              </a:xfrm>
              <a:prstGeom prst="line">
                <a:avLst/>
              </a:prstGeom>
              <a:ln w="254000">
                <a:solidFill>
                  <a:srgbClr val="8FD4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C8FF91F5-3D34-4A30-B838-EF2C72515DF5}"/>
                  </a:ext>
                </a:extLst>
              </p:cNvPr>
              <p:cNvCxnSpPr/>
              <p:nvPr/>
            </p:nvCxnSpPr>
            <p:spPr>
              <a:xfrm rot="5400000" flipH="1">
                <a:off x="2786743" y="986972"/>
                <a:ext cx="0" cy="856342"/>
              </a:xfrm>
              <a:prstGeom prst="line">
                <a:avLst/>
              </a:prstGeom>
              <a:ln w="254000">
                <a:solidFill>
                  <a:srgbClr val="8FD4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D9CA255-8EE5-4D25-AAB1-EB610B36D1E3}"/>
                </a:ext>
              </a:extLst>
            </p:cNvPr>
            <p:cNvGrpSpPr/>
            <p:nvPr/>
          </p:nvGrpSpPr>
          <p:grpSpPr>
            <a:xfrm rot="2700000">
              <a:off x="751731" y="472912"/>
              <a:ext cx="457200" cy="457200"/>
              <a:chOff x="2358572" y="1016001"/>
              <a:chExt cx="856342" cy="85634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A650EDC0-2BD9-439B-B299-1C43BEB60A55}"/>
                  </a:ext>
                </a:extLst>
              </p:cNvPr>
              <p:cNvCxnSpPr/>
              <p:nvPr/>
            </p:nvCxnSpPr>
            <p:spPr>
              <a:xfrm flipH="1">
                <a:off x="2786743" y="1016001"/>
                <a:ext cx="0" cy="856342"/>
              </a:xfrm>
              <a:prstGeom prst="line">
                <a:avLst/>
              </a:prstGeom>
              <a:ln w="111125">
                <a:solidFill>
                  <a:srgbClr val="212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4E112E4B-DBF2-45E0-9F3B-AABDF82D84B3}"/>
                  </a:ext>
                </a:extLst>
              </p:cNvPr>
              <p:cNvCxnSpPr/>
              <p:nvPr/>
            </p:nvCxnSpPr>
            <p:spPr>
              <a:xfrm rot="5400000" flipH="1">
                <a:off x="2786743" y="986972"/>
                <a:ext cx="0" cy="856342"/>
              </a:xfrm>
              <a:prstGeom prst="line">
                <a:avLst/>
              </a:prstGeom>
              <a:ln w="111125">
                <a:solidFill>
                  <a:srgbClr val="212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F4DE6784-8074-40D7-9DD7-31EC6768F991}"/>
              </a:ext>
            </a:extLst>
          </p:cNvPr>
          <p:cNvSpPr txBox="1"/>
          <p:nvPr/>
        </p:nvSpPr>
        <p:spPr>
          <a:xfrm>
            <a:off x="1104595" y="6102918"/>
            <a:ext cx="6847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B8A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agmentation Optimisa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3FECF7F-4EA4-48CE-8515-FDCE3EE995D1}"/>
              </a:ext>
            </a:extLst>
          </p:cNvPr>
          <p:cNvSpPr txBox="1"/>
          <p:nvPr/>
        </p:nvSpPr>
        <p:spPr>
          <a:xfrm>
            <a:off x="7248143" y="6102918"/>
            <a:ext cx="58082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B8A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gital Route Slip to Track The Ore</a:t>
            </a:r>
          </a:p>
        </p:txBody>
      </p:sp>
    </p:spTree>
    <p:extLst>
      <p:ext uri="{BB962C8B-B14F-4D97-AF65-F5344CB8AC3E}">
        <p14:creationId xmlns:p14="http://schemas.microsoft.com/office/powerpoint/2010/main" val="6185496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xit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xit" presetSubtype="8" fill="hold" nodeType="withEffect">
                                  <p:stCondLst>
                                    <p:cond delay="45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8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" presetClass="entr" presetSubtype="8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7CCA1334-2D83-4DB3-997C-5A1891F3D8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86"/>
          <a:stretch/>
        </p:blipFill>
        <p:spPr>
          <a:xfrm>
            <a:off x="229769" y="1180338"/>
            <a:ext cx="5449136" cy="323774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A48E47C-9D9A-4954-910E-F4E446C14BCC}"/>
              </a:ext>
            </a:extLst>
          </p:cNvPr>
          <p:cNvSpPr/>
          <p:nvPr/>
        </p:nvSpPr>
        <p:spPr>
          <a:xfrm rot="16200000">
            <a:off x="4642443" y="1922521"/>
            <a:ext cx="833947" cy="51696"/>
          </a:xfrm>
          <a:prstGeom prst="rect">
            <a:avLst/>
          </a:prstGeom>
          <a:solidFill>
            <a:schemeClr val="accent1"/>
          </a:solidFill>
          <a:ln>
            <a:solidFill>
              <a:srgbClr val="A5CF4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5" name="TextBox 329">
            <a:extLst>
              <a:ext uri="{FF2B5EF4-FFF2-40B4-BE49-F238E27FC236}">
                <a16:creationId xmlns:a16="http://schemas.microsoft.com/office/drawing/2014/main" id="{BAC5AAE7-8749-4EDB-87EB-8961D5F2D625}"/>
              </a:ext>
            </a:extLst>
          </p:cNvPr>
          <p:cNvSpPr txBox="1"/>
          <p:nvPr/>
        </p:nvSpPr>
        <p:spPr>
          <a:xfrm>
            <a:off x="4288271" y="1240501"/>
            <a:ext cx="957560" cy="1415736"/>
          </a:xfrm>
          <a:prstGeom prst="rect">
            <a:avLst/>
          </a:prstGeom>
          <a:noFill/>
        </p:spPr>
        <p:txBody>
          <a:bodyPr wrap="square" lIns="182843" tIns="91422" rIns="182843" bIns="91422" rtlCol="0" anchor="ctr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alpha val="28000"/>
                  </a:scheme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1</a:t>
            </a:r>
            <a:endParaRPr kumimoji="0" lang="id-ID" sz="8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alpha val="28000"/>
                </a:schemeClr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43674A0-459C-40DB-93BC-3FF4AAB2AAF5}"/>
              </a:ext>
            </a:extLst>
          </p:cNvPr>
          <p:cNvSpPr/>
          <p:nvPr/>
        </p:nvSpPr>
        <p:spPr>
          <a:xfrm rot="16200000">
            <a:off x="4642443" y="2815286"/>
            <a:ext cx="833947" cy="51696"/>
          </a:xfrm>
          <a:prstGeom prst="rect">
            <a:avLst/>
          </a:prstGeom>
          <a:solidFill>
            <a:schemeClr val="accent1"/>
          </a:solidFill>
          <a:ln>
            <a:solidFill>
              <a:srgbClr val="A5CF4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329">
            <a:extLst>
              <a:ext uri="{FF2B5EF4-FFF2-40B4-BE49-F238E27FC236}">
                <a16:creationId xmlns:a16="http://schemas.microsoft.com/office/drawing/2014/main" id="{25696030-CD9A-4F2E-9AE8-CAA0C63B48AC}"/>
              </a:ext>
            </a:extLst>
          </p:cNvPr>
          <p:cNvSpPr txBox="1"/>
          <p:nvPr/>
        </p:nvSpPr>
        <p:spPr>
          <a:xfrm>
            <a:off x="4301289" y="2202529"/>
            <a:ext cx="957560" cy="1415736"/>
          </a:xfrm>
          <a:prstGeom prst="rect">
            <a:avLst/>
          </a:prstGeom>
          <a:noFill/>
        </p:spPr>
        <p:txBody>
          <a:bodyPr wrap="square" lIns="182843" tIns="91422" rIns="182843" bIns="91422" rtlCol="0" anchor="ctr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alpha val="28000"/>
                  </a:scheme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2</a:t>
            </a:r>
            <a:endParaRPr kumimoji="0" lang="id-ID" sz="8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alpha val="28000"/>
                </a:schemeClr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D1F8C4-011E-41BA-AC76-274C83FE5878}"/>
              </a:ext>
            </a:extLst>
          </p:cNvPr>
          <p:cNvSpPr/>
          <p:nvPr/>
        </p:nvSpPr>
        <p:spPr>
          <a:xfrm rot="16200000">
            <a:off x="4642444" y="3778772"/>
            <a:ext cx="832350" cy="51696"/>
          </a:xfrm>
          <a:prstGeom prst="rect">
            <a:avLst/>
          </a:prstGeom>
          <a:solidFill>
            <a:schemeClr val="accent1"/>
          </a:solidFill>
          <a:ln>
            <a:solidFill>
              <a:srgbClr val="A5CF4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1" name="TextBox 329">
            <a:extLst>
              <a:ext uri="{FF2B5EF4-FFF2-40B4-BE49-F238E27FC236}">
                <a16:creationId xmlns:a16="http://schemas.microsoft.com/office/drawing/2014/main" id="{C9B7B2AB-4E02-445B-9609-A15F232766CC}"/>
              </a:ext>
            </a:extLst>
          </p:cNvPr>
          <p:cNvSpPr txBox="1"/>
          <p:nvPr/>
        </p:nvSpPr>
        <p:spPr>
          <a:xfrm>
            <a:off x="4288271" y="3086323"/>
            <a:ext cx="957560" cy="1415736"/>
          </a:xfrm>
          <a:prstGeom prst="rect">
            <a:avLst/>
          </a:prstGeom>
          <a:noFill/>
        </p:spPr>
        <p:txBody>
          <a:bodyPr wrap="square" lIns="182843" tIns="91422" rIns="182843" bIns="91422" rtlCol="0" anchor="ctr">
            <a:spAutoFit/>
          </a:bodyPr>
          <a:lstStyle>
            <a:defPPr>
              <a:defRPr lang="en-US"/>
            </a:defPPr>
            <a:lvl1pPr marL="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alpha val="28000"/>
                  </a:scheme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3</a:t>
            </a:r>
            <a:endParaRPr kumimoji="0" lang="id-ID" sz="8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alpha val="28000"/>
                </a:schemeClr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B34339F-F29F-4B1C-AAB2-E7BEFBB42716}"/>
              </a:ext>
            </a:extLst>
          </p:cNvPr>
          <p:cNvSpPr txBox="1"/>
          <p:nvPr/>
        </p:nvSpPr>
        <p:spPr>
          <a:xfrm>
            <a:off x="334963" y="4233471"/>
            <a:ext cx="2922254" cy="2142717"/>
          </a:xfrm>
          <a:prstGeom prst="rect">
            <a:avLst/>
          </a:prstGeom>
          <a:solidFill>
            <a:srgbClr val="6B8A7E"/>
          </a:solidFill>
          <a:ln w="28575">
            <a:noFill/>
          </a:ln>
        </p:spPr>
        <p:txBody>
          <a:bodyPr wrap="square" rtlCol="0" anchor="ctr">
            <a:noAutofit/>
          </a:bodyPr>
          <a:lstStyle/>
          <a:p>
            <a:pPr marL="88900" marR="0" lvl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sults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(prelim value, still doing time studies checking if data in the system is correct)</a:t>
            </a:r>
            <a:b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effectLst/>
                <a:uLnTx/>
                <a:uFillTx/>
                <a:ea typeface="+mn-ea"/>
                <a:cs typeface="+mn-cs"/>
              </a:rPr>
              <a:t>56m/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8FD400"/>
                </a:solidFill>
                <a:effectLst/>
                <a:uLnTx/>
                <a:uFillTx/>
                <a:ea typeface="+mn-ea"/>
                <a:cs typeface="+mn-cs"/>
              </a:rPr>
              <a:t>h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vs YTD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effectLst/>
                <a:uLnTx/>
                <a:uFillTx/>
                <a:ea typeface="+mn-ea"/>
                <a:cs typeface="+mn-cs"/>
              </a:rPr>
              <a:t>45m/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8FD400"/>
                </a:solidFill>
                <a:effectLst/>
                <a:uLnTx/>
                <a:uFillTx/>
                <a:ea typeface="+mn-ea"/>
                <a:cs typeface="+mn-cs"/>
              </a:rPr>
              <a:t>h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for old drill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D62C791-FE4F-435E-9AD8-12437A124356}"/>
              </a:ext>
            </a:extLst>
          </p:cNvPr>
          <p:cNvGrpSpPr/>
          <p:nvPr/>
        </p:nvGrpSpPr>
        <p:grpSpPr>
          <a:xfrm>
            <a:off x="3093860" y="4233471"/>
            <a:ext cx="9098140" cy="2142716"/>
            <a:chOff x="2791183" y="4162187"/>
            <a:chExt cx="9400817" cy="2214000"/>
          </a:xfrm>
        </p:grpSpPr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558170AA-24A3-4D94-9382-1F74E6426E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02208" y="4162187"/>
              <a:ext cx="3656065" cy="2214000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EB0BB7B9-E02C-43BB-95D3-DC495C6C81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72528" y="4162187"/>
              <a:ext cx="3019472" cy="22140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63AE3CF-BF5B-4168-8111-8DE04205881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91183" y="4162187"/>
              <a:ext cx="2955805" cy="2214000"/>
            </a:xfrm>
            <a:prstGeom prst="rect">
              <a:avLst/>
            </a:prstGeom>
          </p:spPr>
        </p:pic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4C42FE-E355-4C4D-9D60-3DEB30943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526CC2-09B8-4E36-BC80-3A4D9631D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dirty="0"/>
              <a:t>Unlocking Value | </a:t>
            </a:r>
            <a:r>
              <a:rPr lang="en-US" dirty="0"/>
              <a:t>Automation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7AE60437-8733-44DB-B72D-335F32EDD72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2FA3B97-977C-4211-81D9-4C7B54AE94EF}"/>
              </a:ext>
            </a:extLst>
          </p:cNvPr>
          <p:cNvSpPr/>
          <p:nvPr/>
        </p:nvSpPr>
        <p:spPr>
          <a:xfrm>
            <a:off x="5203995" y="1702148"/>
            <a:ext cx="6461110" cy="492443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We ar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targeting high value easy and affordable to integrat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 parts of our value chain to convert to autonomous operations.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i.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 Dozers, Plants,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Drills,etc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054D6E-8895-4674-8C16-B428FBC75336}"/>
              </a:ext>
            </a:extLst>
          </p:cNvPr>
          <p:cNvSpPr/>
          <p:nvPr/>
        </p:nvSpPr>
        <p:spPr>
          <a:xfrm>
            <a:off x="5203995" y="2594913"/>
            <a:ext cx="6461110" cy="492443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Managing and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 Integrating autonomous operations and processes in a mine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is complex as these operate sub-optimally alongside manually driven processe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B480408-10F4-4EE5-9328-72198896F1B4}"/>
              </a:ext>
            </a:extLst>
          </p:cNvPr>
          <p:cNvSpPr/>
          <p:nvPr/>
        </p:nvSpPr>
        <p:spPr>
          <a:xfrm>
            <a:off x="5203995" y="3558399"/>
            <a:ext cx="6461110" cy="492443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marR="0" lvl="0" indent="0" algn="l" defTabSz="173463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Although we are constantly evolving our culture, this remains a very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labour sensitive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Arial" charset="0"/>
              </a:rPr>
              <a:t>issue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Verdana" panose="020B0604030504040204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247560"/>
      </p:ext>
    </p:extLst>
  </p:cSld>
  <p:clrMapOvr>
    <a:masterClrMapping/>
  </p:clrMapOvr>
  <p:transition spd="slow">
    <p:push dir="u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5">
            <a:extLst>
              <a:ext uri="{FF2B5EF4-FFF2-40B4-BE49-F238E27FC236}">
                <a16:creationId xmlns:a16="http://schemas.microsoft.com/office/drawing/2014/main" id="{3EF4563F-576D-42A9-B5A7-BD8CD9E924F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1999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E8742E8-93F8-492C-AD86-F0F192647AE1}"/>
              </a:ext>
            </a:extLst>
          </p:cNvPr>
          <p:cNvSpPr/>
          <p:nvPr/>
        </p:nvSpPr>
        <p:spPr>
          <a:xfrm>
            <a:off x="-55277" y="-148549"/>
            <a:ext cx="12247275" cy="7025599"/>
          </a:xfrm>
          <a:prstGeom prst="rect">
            <a:avLst/>
          </a:prstGeom>
          <a:gradFill flip="none" rotWithShape="1">
            <a:gsLst>
              <a:gs pos="50000">
                <a:srgbClr val="212F3F">
                  <a:alpha val="65000"/>
                </a:srgbClr>
              </a:gs>
              <a:gs pos="81000">
                <a:srgbClr val="212F3F"/>
              </a:gs>
              <a:gs pos="0">
                <a:srgbClr val="212F3F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23E7511-FCAC-41A9-974A-3045EB1AE53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01E6A56-4BB9-444C-A3C9-959F9D7E8D04}"/>
              </a:ext>
            </a:extLst>
          </p:cNvPr>
          <p:cNvSpPr/>
          <p:nvPr/>
        </p:nvSpPr>
        <p:spPr>
          <a:xfrm>
            <a:off x="-55275" y="4604084"/>
            <a:ext cx="12247275" cy="1076972"/>
          </a:xfrm>
          <a:prstGeom prst="rect">
            <a:avLst/>
          </a:prstGeom>
          <a:gradFill>
            <a:gsLst>
              <a:gs pos="97000">
                <a:schemeClr val="bg1">
                  <a:alpha val="0"/>
                </a:schemeClr>
              </a:gs>
              <a:gs pos="0">
                <a:srgbClr val="85C00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DA4075-7EC8-4E6E-AC51-C6EF87FF7CDF}"/>
              </a:ext>
            </a:extLst>
          </p:cNvPr>
          <p:cNvSpPr txBox="1"/>
          <p:nvPr/>
        </p:nvSpPr>
        <p:spPr>
          <a:xfrm>
            <a:off x="334963" y="4841073"/>
            <a:ext cx="9797606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V</a:t>
            </a: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+mj-lt"/>
                <a:cs typeface="Arial" panose="020B0604020202020204" pitchFamily="34" charset="0"/>
              </a:rPr>
              <a:t>ALUE REALISED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359459-30AA-4FB9-93E2-E702D2A53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0567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AEB38B4-E6B2-43B1-A558-E189FF2A2432}"/>
              </a:ext>
            </a:extLst>
          </p:cNvPr>
          <p:cNvSpPr/>
          <p:nvPr/>
        </p:nvSpPr>
        <p:spPr>
          <a:xfrm>
            <a:off x="0" y="1125538"/>
            <a:ext cx="12192000" cy="4671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4FD7DDD-4697-404B-8D23-F340C23B651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395" y="2057785"/>
            <a:ext cx="3969347" cy="396272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DF7D005-2D0D-4E6D-8B4E-162B6D8E497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90741" y="2057785"/>
            <a:ext cx="4392037" cy="39627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6BF457-7608-4D52-AC7E-B902FC9F2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b="0" dirty="0"/>
              <a:t>Value </a:t>
            </a:r>
            <a:r>
              <a:rPr lang="en-US" sz="3100" b="0" dirty="0" err="1"/>
              <a:t>Realised</a:t>
            </a:r>
            <a:r>
              <a:rPr lang="en-US" sz="2800" b="0" dirty="0"/>
              <a:t>│ </a:t>
            </a:r>
            <a:r>
              <a:rPr lang="en-US" dirty="0"/>
              <a:t>GG IOC (ops eye) MVP completed in 2018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8FF060E-01AD-4C0D-8552-5A6C5B54DEE7}"/>
              </a:ext>
            </a:extLst>
          </p:cNvPr>
          <p:cNvSpPr/>
          <p:nvPr/>
        </p:nvSpPr>
        <p:spPr>
          <a:xfrm>
            <a:off x="8682779" y="1125538"/>
            <a:ext cx="3509222" cy="5174644"/>
          </a:xfrm>
          <a:prstGeom prst="rect">
            <a:avLst/>
          </a:prstGeom>
          <a:solidFill>
            <a:srgbClr val="A5CF4C"/>
          </a:solidFill>
          <a:ln w="762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f-ZA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BA8574D-B81F-48D9-836C-2AE0AF2660AE}"/>
              </a:ext>
            </a:extLst>
          </p:cNvPr>
          <p:cNvSpPr/>
          <p:nvPr/>
        </p:nvSpPr>
        <p:spPr>
          <a:xfrm>
            <a:off x="4290742" y="1825432"/>
            <a:ext cx="4168668" cy="3934513"/>
          </a:xfrm>
          <a:prstGeom prst="rect">
            <a:avLst/>
          </a:prstGeom>
          <a:noFill/>
          <a:ln w="38100">
            <a:solidFill>
              <a:srgbClr val="3A2B26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Arial" panose="020B0604020202020204" pitchFamily="34" charset="0"/>
              </a:rPr>
              <a:t>Ops-Eye Period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3C70532-5042-45A4-849C-D070C24591E7}"/>
              </a:ext>
            </a:extLst>
          </p:cNvPr>
          <p:cNvSpPr/>
          <p:nvPr/>
        </p:nvSpPr>
        <p:spPr>
          <a:xfrm>
            <a:off x="689941" y="2057785"/>
            <a:ext cx="3600801" cy="3702161"/>
          </a:xfrm>
          <a:prstGeom prst="rect">
            <a:avLst/>
          </a:prstGeom>
          <a:noFill/>
          <a:ln w="38100">
            <a:solidFill>
              <a:srgbClr val="3A2B26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Arial" panose="020B0604020202020204" pitchFamily="34" charset="0"/>
              </a:rPr>
              <a:t>Before Ops-Eye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2B6DD7F-7A35-4166-8C7E-03A66DA58575}"/>
              </a:ext>
            </a:extLst>
          </p:cNvPr>
          <p:cNvCxnSpPr>
            <a:cxnSpLocks/>
          </p:cNvCxnSpPr>
          <p:nvPr/>
        </p:nvCxnSpPr>
        <p:spPr>
          <a:xfrm>
            <a:off x="859658" y="2717035"/>
            <a:ext cx="3431084" cy="0"/>
          </a:xfrm>
          <a:prstGeom prst="line">
            <a:avLst/>
          </a:prstGeom>
          <a:ln w="38100">
            <a:solidFill>
              <a:srgbClr val="3A2B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5C21A3E-9979-44BF-B2FB-DECFB3BB5F7A}"/>
              </a:ext>
            </a:extLst>
          </p:cNvPr>
          <p:cNvSpPr txBox="1"/>
          <p:nvPr/>
        </p:nvSpPr>
        <p:spPr>
          <a:xfrm>
            <a:off x="1903368" y="2335745"/>
            <a:ext cx="1343155" cy="353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Arial" panose="020B0604020202020204" pitchFamily="34" charset="0"/>
              </a:rPr>
              <a:t>89 740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6F0D847-A553-44CA-9B0E-1BE30A84452E}"/>
              </a:ext>
            </a:extLst>
          </p:cNvPr>
          <p:cNvCxnSpPr>
            <a:cxnSpLocks/>
          </p:cNvCxnSpPr>
          <p:nvPr/>
        </p:nvCxnSpPr>
        <p:spPr>
          <a:xfrm>
            <a:off x="4290742" y="2563602"/>
            <a:ext cx="4168668" cy="0"/>
          </a:xfrm>
          <a:prstGeom prst="line">
            <a:avLst/>
          </a:prstGeom>
          <a:ln w="38100">
            <a:solidFill>
              <a:srgbClr val="3A2B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1502B018-EB49-4D91-B698-60D50B95C5E7}"/>
              </a:ext>
            </a:extLst>
          </p:cNvPr>
          <p:cNvSpPr txBox="1"/>
          <p:nvPr/>
        </p:nvSpPr>
        <p:spPr>
          <a:xfrm>
            <a:off x="5888260" y="2138705"/>
            <a:ext cx="960796" cy="3539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4572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Arial" panose="020B0604020202020204" pitchFamily="34" charset="0"/>
              </a:rPr>
              <a:t>93 932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4F2F5DE-C9E1-4AC8-9505-AAF544F9358D}"/>
              </a:ext>
            </a:extLst>
          </p:cNvPr>
          <p:cNvCxnSpPr>
            <a:cxnSpLocks/>
          </p:cNvCxnSpPr>
          <p:nvPr/>
        </p:nvCxnSpPr>
        <p:spPr>
          <a:xfrm>
            <a:off x="5185461" y="3486104"/>
            <a:ext cx="2985657" cy="0"/>
          </a:xfrm>
          <a:prstGeom prst="straightConnector1">
            <a:avLst/>
          </a:prstGeom>
          <a:ln w="57150">
            <a:solidFill>
              <a:srgbClr val="FF0000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06DB4F0E-10E2-4134-AFBB-B73F73E6A999}"/>
              </a:ext>
            </a:extLst>
          </p:cNvPr>
          <p:cNvSpPr txBox="1"/>
          <p:nvPr/>
        </p:nvSpPr>
        <p:spPr>
          <a:xfrm>
            <a:off x="4514109" y="3194406"/>
            <a:ext cx="3945299" cy="250068"/>
          </a:xfrm>
          <a:prstGeom prst="rect">
            <a:avLst/>
          </a:prstGeom>
          <a:noFill/>
        </p:spPr>
        <p:txBody>
          <a:bodyPr wrap="square" lIns="0" tIns="0" rIns="0" bIns="3429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GG2 on Shut (±10% of overall plant capacity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2F9CE1C-7C73-43B7-B7EA-6ACE0E6F3BF0}"/>
              </a:ext>
            </a:extLst>
          </p:cNvPr>
          <p:cNvSpPr txBox="1"/>
          <p:nvPr/>
        </p:nvSpPr>
        <p:spPr>
          <a:xfrm>
            <a:off x="128369" y="1174162"/>
            <a:ext cx="396041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Arial" panose="020B0604020202020204" pitchFamily="34" charset="0"/>
              </a:rPr>
              <a:t>Average Ex-pit Tonnes per shif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EE42220-7753-4F56-9D35-B3EF3F2B6E47}"/>
              </a:ext>
            </a:extLst>
          </p:cNvPr>
          <p:cNvSpPr txBox="1"/>
          <p:nvPr/>
        </p:nvSpPr>
        <p:spPr>
          <a:xfrm>
            <a:off x="7580244" y="5930850"/>
            <a:ext cx="9906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b="1" dirty="0">
                <a:solidFill>
                  <a:schemeClr val="bg1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Arial" panose="020B0604020202020204" pitchFamily="34" charset="0"/>
              </a:rPr>
              <a:t>w</a:t>
            </a:r>
            <a:r>
              <a:rPr kumimoji="0" lang="en-ZA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Arial" panose="020B0604020202020204" pitchFamily="34" charset="0"/>
              </a:rPr>
              <a:t>eeks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3300AE-4A9E-4959-98C1-3B4AC79A9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19</a:t>
            </a:fld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35E8644-D21B-43E5-A586-53BAAFF1B62D}"/>
              </a:ext>
            </a:extLst>
          </p:cNvPr>
          <p:cNvSpPr/>
          <p:nvPr/>
        </p:nvSpPr>
        <p:spPr>
          <a:xfrm>
            <a:off x="9011741" y="2532747"/>
            <a:ext cx="3285854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5%</a:t>
            </a:r>
            <a:endParaRPr kumimoji="0" lang="en-GB" sz="8800" b="1" i="0" u="none" strike="noStrike" kern="1200" cap="none" spc="0" normalizeH="0" baseline="0" noProof="0" dirty="0">
              <a:ln>
                <a:solidFill>
                  <a:prstClr val="white"/>
                </a:solidFill>
              </a:ln>
              <a:solidFill>
                <a:srgbClr val="FFFFFF"/>
              </a:solidFill>
              <a:effectLst/>
              <a:uLnTx/>
              <a:uFillTx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5C86DE-EB67-45A8-9D2E-CDAA29316256}"/>
              </a:ext>
            </a:extLst>
          </p:cNvPr>
          <p:cNvSpPr txBox="1"/>
          <p:nvPr/>
        </p:nvSpPr>
        <p:spPr>
          <a:xfrm>
            <a:off x="8906147" y="4148573"/>
            <a:ext cx="299790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MPROVEMENT</a:t>
            </a:r>
          </a:p>
        </p:txBody>
      </p:sp>
    </p:spTree>
    <p:extLst>
      <p:ext uri="{BB962C8B-B14F-4D97-AF65-F5344CB8AC3E}">
        <p14:creationId xmlns:p14="http://schemas.microsoft.com/office/powerpoint/2010/main" val="22339388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7" grpId="0"/>
      <p:bldP spid="27" grpId="1"/>
      <p:bldP spid="2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2947215B-6E8C-47EE-97F7-C481E47BC47C}"/>
              </a:ext>
            </a:extLst>
          </p:cNvPr>
          <p:cNvGrpSpPr/>
          <p:nvPr/>
        </p:nvGrpSpPr>
        <p:grpSpPr>
          <a:xfrm>
            <a:off x="0" y="1507671"/>
            <a:ext cx="12192000" cy="5350329"/>
            <a:chOff x="35551" y="1507671"/>
            <a:chExt cx="10745001" cy="4715329"/>
          </a:xfrm>
        </p:grpSpPr>
        <p:pic>
          <p:nvPicPr>
            <p:cNvPr id="27" name="Picture 26" descr="A truck driving down a dirt road&#10;&#10;Description automatically generated">
              <a:extLst>
                <a:ext uri="{FF2B5EF4-FFF2-40B4-BE49-F238E27FC236}">
                  <a16:creationId xmlns:a16="http://schemas.microsoft.com/office/drawing/2014/main" id="{3DC254D5-D6C2-43F9-8A95-4F6DF7F598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249955" y="1507671"/>
              <a:ext cx="5530597" cy="4715329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6A029A1-EB5A-4D5A-A74F-C2CE58538B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551" y="1507671"/>
              <a:ext cx="5372501" cy="4715329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8E610EAE-F7E5-415D-A029-F1FB466E546A}"/>
              </a:ext>
            </a:extLst>
          </p:cNvPr>
          <p:cNvSpPr/>
          <p:nvPr/>
        </p:nvSpPr>
        <p:spPr>
          <a:xfrm>
            <a:off x="1" y="402771"/>
            <a:ext cx="12192000" cy="1104900"/>
          </a:xfrm>
          <a:prstGeom prst="rect">
            <a:avLst/>
          </a:prstGeom>
          <a:solidFill>
            <a:srgbClr val="85C0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D256DA-749C-4CB4-AC85-FA2E34F4E1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4" y="647246"/>
            <a:ext cx="10681380" cy="53975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HE MINING INDUSTRY IS ON THE BRINK OF A TECHNOLOGICAL REVOLUTION </a:t>
            </a:r>
            <a:br>
              <a:rPr lang="en-US" dirty="0">
                <a:solidFill>
                  <a:schemeClr val="bg1"/>
                </a:solidFill>
              </a:rPr>
            </a:br>
            <a:endParaRPr lang="es-AR" dirty="0">
              <a:solidFill>
                <a:schemeClr val="bg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16F898C-8537-41A6-BDC6-9E6A0CF19A2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1932B1CC-7B14-42CD-9E7F-BEEF69042C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3838" y="6426421"/>
            <a:ext cx="2743200" cy="365125"/>
          </a:xfrm>
        </p:spPr>
        <p:txBody>
          <a:bodyPr/>
          <a:lstStyle/>
          <a:p>
            <a:fld id="{D13DE82C-19FF-4122-931F-2BD77445347C}" type="slidenum">
              <a:rPr lang="en-US" smtClean="0">
                <a:solidFill>
                  <a:schemeClr val="bg1"/>
                </a:solidFill>
              </a:rPr>
              <a:t>2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754970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 Placeholder 8">
            <a:extLst>
              <a:ext uri="{FF2B5EF4-FFF2-40B4-BE49-F238E27FC236}">
                <a16:creationId xmlns:a16="http://schemas.microsoft.com/office/drawing/2014/main" id="{BC0890CA-5E94-41BA-B329-A56D2D586109}"/>
              </a:ext>
            </a:extLst>
          </p:cNvPr>
          <p:cNvSpPr txBox="1">
            <a:spLocks/>
          </p:cNvSpPr>
          <p:nvPr/>
        </p:nvSpPr>
        <p:spPr>
          <a:xfrm rot="16200000">
            <a:off x="44885" y="2680163"/>
            <a:ext cx="2509044" cy="728614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7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Black" panose="02000000000000000000" pitchFamily="2" charset="0"/>
                <a:ea typeface="+mn-ea"/>
                <a:cs typeface="+mn-cs"/>
              </a:rPr>
              <a:t>LEEUWP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5FA0B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Lion Watch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FF391BA1-4DFD-4AA0-AC40-9589C65C8088}"/>
              </a:ext>
            </a:extLst>
          </p:cNvPr>
          <p:cNvSpPr txBox="1">
            <a:spLocks/>
          </p:cNvSpPr>
          <p:nvPr/>
        </p:nvSpPr>
        <p:spPr>
          <a:xfrm rot="16200000">
            <a:off x="266759" y="4913931"/>
            <a:ext cx="2065296" cy="937038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45720" rIns="91440" bIns="45720" rtlCol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7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Black" panose="02000000000000000000" pitchFamily="2" charset="0"/>
                <a:ea typeface="+mn-ea"/>
                <a:cs typeface="+mn-cs"/>
              </a:rPr>
              <a:t>BELFAST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5FA0B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Integrated Operations Hub</a:t>
            </a:r>
          </a:p>
        </p:txBody>
      </p:sp>
      <p:sp>
        <p:nvSpPr>
          <p:cNvPr id="57" name="Text Placeholder 8">
            <a:extLst>
              <a:ext uri="{FF2B5EF4-FFF2-40B4-BE49-F238E27FC236}">
                <a16:creationId xmlns:a16="http://schemas.microsoft.com/office/drawing/2014/main" id="{BB357136-3227-4090-B899-FDE16A5BA4FF}"/>
              </a:ext>
            </a:extLst>
          </p:cNvPr>
          <p:cNvSpPr txBox="1">
            <a:spLocks/>
          </p:cNvSpPr>
          <p:nvPr/>
        </p:nvSpPr>
        <p:spPr>
          <a:xfrm rot="16200000">
            <a:off x="9566079" y="2750320"/>
            <a:ext cx="2468090" cy="615770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b="1">
                <a:solidFill>
                  <a:schemeClr val="accent2"/>
                </a:solidFill>
              </a:defRPr>
            </a:lvl1pPr>
            <a:lvl2pPr marL="273050"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2pPr>
            <a:lvl3pPr marL="534988"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3pPr>
            <a:lvl4pPr marL="808038"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4pPr>
            <a:lvl5pPr marL="1079500"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Black" panose="02000000000000000000" pitchFamily="2" charset="0"/>
                <a:ea typeface="+mn-ea"/>
                <a:cs typeface="+mn-cs"/>
              </a:rPr>
              <a:t>GROOTEGELUK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5FA0B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Ops Eye (MVP)</a:t>
            </a:r>
          </a:p>
        </p:txBody>
      </p:sp>
      <p:sp>
        <p:nvSpPr>
          <p:cNvPr id="58" name="Text Placeholder 8">
            <a:extLst>
              <a:ext uri="{FF2B5EF4-FFF2-40B4-BE49-F238E27FC236}">
                <a16:creationId xmlns:a16="http://schemas.microsoft.com/office/drawing/2014/main" id="{E0C63A2F-64F1-4D4D-B16C-8BC1DAA266CF}"/>
              </a:ext>
            </a:extLst>
          </p:cNvPr>
          <p:cNvSpPr txBox="1">
            <a:spLocks/>
          </p:cNvSpPr>
          <p:nvPr/>
        </p:nvSpPr>
        <p:spPr>
          <a:xfrm rot="16200000">
            <a:off x="10031292" y="4889531"/>
            <a:ext cx="1970103" cy="866084"/>
          </a:xfrm>
          <a:prstGeom prst="rect">
            <a:avLst/>
          </a:prstGeom>
          <a:solidFill>
            <a:srgbClr val="FFFFFF"/>
          </a:solidFill>
        </p:spPr>
        <p:txBody>
          <a:bodyPr vert="horz" lIns="91440" tIns="45720" rIns="91440" bIns="45720" rtlCol="0" anchor="ctr" anchorCtr="0">
            <a:normAutofit fontScale="92500"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Black" panose="02000000000000000000" pitchFamily="2" charset="0"/>
                <a:ea typeface="+mn-ea"/>
                <a:cs typeface="+mn-cs"/>
              </a:rPr>
              <a:t>MATL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srgbClr val="5FA0BB"/>
                </a:solidFill>
                <a:effectLst/>
                <a:uLnTx/>
                <a:uFillTx/>
                <a:latin typeface="Graphik" panose="020B0503030202060203" pitchFamily="34" charset="0"/>
                <a:ea typeface="+mn-ea"/>
                <a:cs typeface="+mn-cs"/>
              </a:rPr>
              <a:t>Integrated Operations Centre (MVP)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1F6F953-D80E-4278-89AA-3E8FBEACABA2}"/>
              </a:ext>
            </a:extLst>
          </p:cNvPr>
          <p:cNvGrpSpPr/>
          <p:nvPr/>
        </p:nvGrpSpPr>
        <p:grpSpPr>
          <a:xfrm>
            <a:off x="1875788" y="1824160"/>
            <a:ext cx="8429505" cy="4607967"/>
            <a:chOff x="1051379" y="1258611"/>
            <a:chExt cx="10085543" cy="5513236"/>
          </a:xfrm>
        </p:grpSpPr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8BF0C22D-F73D-42E2-AE42-1EB393B1A3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13553" y="1459418"/>
              <a:ext cx="4805430" cy="2668727"/>
            </a:xfrm>
            <a:prstGeom prst="rect">
              <a:avLst/>
            </a:prstGeom>
          </p:spPr>
        </p:pic>
        <p:graphicFrame>
          <p:nvGraphicFramePr>
            <p:cNvPr id="75" name="Chart 74">
              <a:extLst>
                <a:ext uri="{FF2B5EF4-FFF2-40B4-BE49-F238E27FC236}">
                  <a16:creationId xmlns:a16="http://schemas.microsoft.com/office/drawing/2014/main" id="{7A6B7126-3709-46E6-A113-C2F8A5BDA4B3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037844473"/>
                </p:ext>
              </p:extLst>
            </p:nvPr>
          </p:nvGraphicFramePr>
          <p:xfrm>
            <a:off x="1173017" y="4300809"/>
            <a:ext cx="4621931" cy="247103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238D06E0-AC99-4CAD-BA2F-EF361DC7F6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1379" y="1405807"/>
              <a:ext cx="4621931" cy="2895002"/>
            </a:xfrm>
            <a:prstGeom prst="rect">
              <a:avLst/>
            </a:prstGeom>
          </p:spPr>
        </p:pic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5B6A0443-10D5-4830-A929-F4F44E3CB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87517" y="4311053"/>
              <a:ext cx="4949405" cy="2367600"/>
            </a:xfrm>
            <a:prstGeom prst="rect">
              <a:avLst/>
            </a:prstGeom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7F6C0E-8626-4238-9F6E-83874A9C03E5}"/>
                </a:ext>
              </a:extLst>
            </p:cNvPr>
            <p:cNvSpPr/>
            <p:nvPr/>
          </p:nvSpPr>
          <p:spPr>
            <a:xfrm>
              <a:off x="1078523" y="1272462"/>
              <a:ext cx="5017478" cy="2939113"/>
            </a:xfrm>
            <a:prstGeom prst="rect">
              <a:avLst/>
            </a:prstGeom>
            <a:solidFill>
              <a:schemeClr val="bg1">
                <a:lumMod val="95000"/>
                <a:alpha val="66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B75F015-75A1-4355-AFAE-129C15E66A0D}"/>
                </a:ext>
              </a:extLst>
            </p:cNvPr>
            <p:cNvSpPr/>
            <p:nvPr/>
          </p:nvSpPr>
          <p:spPr>
            <a:xfrm>
              <a:off x="1067605" y="4310744"/>
              <a:ext cx="5017476" cy="237187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B409572-A9C1-4888-BADA-73FD5F9B1B3A}"/>
                </a:ext>
              </a:extLst>
            </p:cNvPr>
            <p:cNvSpPr/>
            <p:nvPr/>
          </p:nvSpPr>
          <p:spPr>
            <a:xfrm>
              <a:off x="6177710" y="1258611"/>
              <a:ext cx="4935767" cy="2961031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E3BF0CC-C80D-4D3F-9C07-EE2EDEA6E46D}"/>
                </a:ext>
              </a:extLst>
            </p:cNvPr>
            <p:cNvSpPr txBox="1"/>
            <p:nvPr/>
          </p:nvSpPr>
          <p:spPr>
            <a:xfrm>
              <a:off x="9646648" y="4589604"/>
              <a:ext cx="146682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stimated 16% Improvement</a:t>
              </a: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956FEED5-7A91-422E-A495-9DDCE593D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0" dirty="0">
                <a:solidFill>
                  <a:srgbClr val="3A2B26"/>
                </a:solidFill>
              </a:rPr>
              <a:t>Value </a:t>
            </a:r>
            <a:r>
              <a:rPr lang="en-US" sz="2800" b="0" dirty="0" err="1">
                <a:solidFill>
                  <a:srgbClr val="3A2B26"/>
                </a:solidFill>
              </a:rPr>
              <a:t>Realised</a:t>
            </a:r>
            <a:r>
              <a:rPr lang="en-US" sz="2800" b="0" dirty="0">
                <a:solidFill>
                  <a:srgbClr val="3A2B26"/>
                </a:solidFill>
              </a:rPr>
              <a:t>│ </a:t>
            </a:r>
            <a:r>
              <a:rPr lang="es-AR" dirty="0" err="1"/>
              <a:t>Integrated</a:t>
            </a:r>
            <a:r>
              <a:rPr lang="es-AR" dirty="0"/>
              <a:t> </a:t>
            </a:r>
            <a:r>
              <a:rPr lang="es-AR" dirty="0" err="1"/>
              <a:t>Operations</a:t>
            </a:r>
            <a:r>
              <a:rPr lang="es-AR" dirty="0"/>
              <a:t> Centres</a:t>
            </a:r>
            <a:br>
              <a:rPr lang="es-AR" dirty="0"/>
            </a:br>
            <a:endParaRPr lang="es-AR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2D4BCCB-C689-43F6-8E9F-501D6AD66812}"/>
              </a:ext>
            </a:extLst>
          </p:cNvPr>
          <p:cNvSpPr/>
          <p:nvPr/>
        </p:nvSpPr>
        <p:spPr>
          <a:xfrm>
            <a:off x="0" y="1125538"/>
            <a:ext cx="12192000" cy="4671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E4D26FA-61A1-4CC3-B11E-B4E247CF1D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963" y="1136113"/>
            <a:ext cx="11166475" cy="566517"/>
          </a:xfrm>
        </p:spPr>
        <p:txBody>
          <a:bodyPr/>
          <a:lstStyle/>
          <a:p>
            <a:r>
              <a:rPr lang="en-ZA" dirty="0"/>
              <a:t>…  CONTINUE TO DEMONTRATE IMPROVEMENT AT OTHER OPERATIONS IN 2019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2A9F9C-DC5E-4F48-84EE-FC019529C3B7}"/>
              </a:ext>
            </a:extLst>
          </p:cNvPr>
          <p:cNvSpPr/>
          <p:nvPr/>
        </p:nvSpPr>
        <p:spPr>
          <a:xfrm>
            <a:off x="2986158" y="2607085"/>
            <a:ext cx="1995404" cy="1508105"/>
          </a:xfrm>
          <a:prstGeom prst="rect">
            <a:avLst/>
          </a:prstGeom>
          <a:solidFill>
            <a:srgbClr val="5FA0BB"/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11.5% </a:t>
            </a:r>
            <a:r>
              <a:rPr kumimoji="0" lang="en-US" sz="20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YTD</a:t>
            </a:r>
          </a:p>
          <a:p>
            <a:pPr lvl="0" algn="ctr" defTabSz="914400">
              <a:defRPr/>
            </a:pPr>
            <a:r>
              <a:rPr lang="en-US" sz="2400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a typeface="Verdana" panose="020B0604030504040204" pitchFamily="34" charset="0"/>
                <a:cs typeface="Arial" panose="020B0604020202020204" pitchFamily="34" charset="0"/>
              </a:rPr>
              <a:t>Product tons</a:t>
            </a:r>
            <a:endParaRPr lang="en-GB" sz="2400" dirty="0">
              <a:ln>
                <a:solidFill>
                  <a:prstClr val="white"/>
                </a:solidFill>
              </a:ln>
              <a:solidFill>
                <a:srgbClr val="FFFFFF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CDE8CF-24BE-4101-8B38-367FC7665597}"/>
              </a:ext>
            </a:extLst>
          </p:cNvPr>
          <p:cNvSpPr/>
          <p:nvPr/>
        </p:nvSpPr>
        <p:spPr>
          <a:xfrm>
            <a:off x="6160380" y="1811401"/>
            <a:ext cx="4125318" cy="2480849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19C4277-D165-4840-86BF-65870B135928}"/>
              </a:ext>
            </a:extLst>
          </p:cNvPr>
          <p:cNvSpPr/>
          <p:nvPr/>
        </p:nvSpPr>
        <p:spPr>
          <a:xfrm>
            <a:off x="1883260" y="4383917"/>
            <a:ext cx="4193611" cy="1968028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0765DE6-A5AE-4445-AB91-20BD2CA972D7}"/>
              </a:ext>
            </a:extLst>
          </p:cNvPr>
          <p:cNvSpPr/>
          <p:nvPr/>
        </p:nvSpPr>
        <p:spPr>
          <a:xfrm>
            <a:off x="6160380" y="4373448"/>
            <a:ext cx="4125318" cy="1968028"/>
          </a:xfrm>
          <a:prstGeom prst="rect">
            <a:avLst/>
          </a:prstGeom>
          <a:solidFill>
            <a:schemeClr val="bg1">
              <a:lumMod val="95000"/>
              <a:alpha val="6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4244C69-4E55-4AFF-A178-C17DF650513E}"/>
              </a:ext>
            </a:extLst>
          </p:cNvPr>
          <p:cNvSpPr/>
          <p:nvPr/>
        </p:nvSpPr>
        <p:spPr>
          <a:xfrm>
            <a:off x="7290462" y="2556844"/>
            <a:ext cx="2187765" cy="1200329"/>
          </a:xfrm>
          <a:prstGeom prst="rect">
            <a:avLst/>
          </a:prstGeom>
          <a:solidFill>
            <a:srgbClr val="5FA0BB"/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a typeface="Verdana" panose="020B0604030504040204" pitchFamily="34" charset="0"/>
                <a:cs typeface="Arial" panose="020B0604020202020204" pitchFamily="34" charset="0"/>
              </a:rPr>
              <a:t>3.03</a:t>
            </a:r>
            <a:r>
              <a:rPr lang="en-US" sz="2400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a typeface="Verdana" panose="020B0604030504040204" pitchFamily="34" charset="0"/>
                <a:cs typeface="Arial" panose="020B0604020202020204" pitchFamily="34" charset="0"/>
              </a:rPr>
              <a:t>mt Product tons</a:t>
            </a:r>
            <a:endParaRPr lang="en-GB" sz="2400" dirty="0">
              <a:ln>
                <a:solidFill>
                  <a:prstClr val="white"/>
                </a:solidFill>
              </a:ln>
              <a:solidFill>
                <a:srgbClr val="FFFFFF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0004EB5-D009-4ECF-A0E9-B9348E94E8AF}"/>
              </a:ext>
            </a:extLst>
          </p:cNvPr>
          <p:cNvSpPr/>
          <p:nvPr/>
        </p:nvSpPr>
        <p:spPr>
          <a:xfrm>
            <a:off x="2986158" y="4698070"/>
            <a:ext cx="1995404" cy="1200329"/>
          </a:xfrm>
          <a:prstGeom prst="rect">
            <a:avLst/>
          </a:prstGeom>
          <a:solidFill>
            <a:srgbClr val="5FA0BB"/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5% </a:t>
            </a:r>
            <a:r>
              <a:rPr kumimoji="0" lang="en-US" sz="24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Y</a:t>
            </a:r>
            <a:r>
              <a:rPr lang="en-US" sz="2400" dirty="0" err="1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a typeface="Verdana" panose="020B0604030504040204" pitchFamily="34" charset="0"/>
                <a:cs typeface="Arial" panose="020B0604020202020204" pitchFamily="34" charset="0"/>
              </a:rPr>
              <a:t>oY</a:t>
            </a:r>
            <a:r>
              <a:rPr lang="en-US" sz="2400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a typeface="Verdana" panose="020B0604030504040204" pitchFamily="34" charset="0"/>
                <a:cs typeface="Arial" panose="020B0604020202020204" pitchFamily="34" charset="0"/>
              </a:rPr>
              <a:t> over 5 </a:t>
            </a:r>
            <a:r>
              <a:rPr lang="en-US" sz="2400" dirty="0" err="1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a typeface="Verdana" panose="020B0604030504040204" pitchFamily="34" charset="0"/>
                <a:cs typeface="Arial" panose="020B0604020202020204" pitchFamily="34" charset="0"/>
              </a:rPr>
              <a:t>yrs</a:t>
            </a:r>
            <a:endParaRPr lang="en-GB" sz="2400" dirty="0">
              <a:ln>
                <a:solidFill>
                  <a:prstClr val="white"/>
                </a:solidFill>
              </a:ln>
              <a:solidFill>
                <a:srgbClr val="FFFFFF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B7B7EEC-D6B5-4471-AD3C-A9FD89CE20DA}"/>
              </a:ext>
            </a:extLst>
          </p:cNvPr>
          <p:cNvSpPr/>
          <p:nvPr/>
        </p:nvSpPr>
        <p:spPr>
          <a:xfrm>
            <a:off x="7336544" y="4698071"/>
            <a:ext cx="2187765" cy="1200328"/>
          </a:xfrm>
          <a:prstGeom prst="rect">
            <a:avLst/>
          </a:prstGeom>
          <a:solidFill>
            <a:srgbClr val="5FA0BB"/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b="1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a typeface="Verdana" panose="020B0604030504040204" pitchFamily="34" charset="0"/>
                <a:cs typeface="Arial" panose="020B0604020202020204" pitchFamily="34" charset="0"/>
              </a:rPr>
              <a:t>16% </a:t>
            </a:r>
            <a:r>
              <a:rPr lang="en-US" sz="1400" b="1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a typeface="Verdana" panose="020B0604030504040204" pitchFamily="34" charset="0"/>
                <a:cs typeface="Arial" panose="020B0604020202020204" pitchFamily="34" charset="0"/>
              </a:rPr>
              <a:t>MINE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>
                <a:ln>
                  <a:solidFill>
                    <a:prstClr val="white"/>
                  </a:solidFill>
                </a:ln>
                <a:solidFill>
                  <a:srgbClr val="FFFFFF"/>
                </a:solidFill>
                <a:ea typeface="Verdana" panose="020B0604030504040204" pitchFamily="34" charset="0"/>
                <a:cs typeface="Arial" panose="020B0604020202020204" pitchFamily="34" charset="0"/>
              </a:rPr>
              <a:t>Product tons</a:t>
            </a:r>
            <a:endParaRPr lang="en-GB" sz="2400" dirty="0">
              <a:ln>
                <a:solidFill>
                  <a:prstClr val="white"/>
                </a:solidFill>
              </a:ln>
              <a:solidFill>
                <a:srgbClr val="FFFFFF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291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6" presetClass="emph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1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6" presetClass="emph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" dur="25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6" presetClass="emph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" dur="2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7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6" presetClass="emph" presetSubtype="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2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19" grpId="1" animBg="1"/>
      <p:bldP spid="27" grpId="0" animBg="1"/>
      <p:bldP spid="27" grpId="1" animBg="1"/>
      <p:bldP spid="28" grpId="0" animBg="1"/>
      <p:bldP spid="28" grpId="1" animBg="1"/>
      <p:bldP spid="29" grpId="0" animBg="1"/>
      <p:bldP spid="29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people in a field&#10;&#10;Description automatically generated">
            <a:extLst>
              <a:ext uri="{FF2B5EF4-FFF2-40B4-BE49-F238E27FC236}">
                <a16:creationId xmlns:a16="http://schemas.microsoft.com/office/drawing/2014/main" id="{612C5EEE-505D-4943-BC2B-08FFA22917D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BBB780C-79F4-41D8-9286-67095C97F7F6}"/>
              </a:ext>
            </a:extLst>
          </p:cNvPr>
          <p:cNvSpPr/>
          <p:nvPr/>
        </p:nvSpPr>
        <p:spPr>
          <a:xfrm>
            <a:off x="-55277" y="-148549"/>
            <a:ext cx="12247275" cy="7025599"/>
          </a:xfrm>
          <a:prstGeom prst="rect">
            <a:avLst/>
          </a:prstGeom>
          <a:gradFill flip="none" rotWithShape="1">
            <a:gsLst>
              <a:gs pos="50000">
                <a:srgbClr val="212F3F">
                  <a:alpha val="65000"/>
                </a:srgbClr>
              </a:gs>
              <a:gs pos="81000">
                <a:srgbClr val="212F3F"/>
              </a:gs>
              <a:gs pos="0">
                <a:srgbClr val="212F3F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EAD98B-AF46-41D3-91DC-10C8D7E1196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3BD4BCD-35C7-4841-9A6E-C65397C69208}"/>
              </a:ext>
            </a:extLst>
          </p:cNvPr>
          <p:cNvSpPr/>
          <p:nvPr/>
        </p:nvSpPr>
        <p:spPr>
          <a:xfrm>
            <a:off x="-55275" y="4604084"/>
            <a:ext cx="12247275" cy="1076972"/>
          </a:xfrm>
          <a:prstGeom prst="rect">
            <a:avLst/>
          </a:prstGeom>
          <a:gradFill>
            <a:gsLst>
              <a:gs pos="97000">
                <a:schemeClr val="bg1">
                  <a:alpha val="0"/>
                </a:schemeClr>
              </a:gs>
              <a:gs pos="0">
                <a:srgbClr val="85C00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FEAAF6-9EDA-4780-930F-DF895DF3B943}"/>
              </a:ext>
            </a:extLst>
          </p:cNvPr>
          <p:cNvSpPr txBox="1"/>
          <p:nvPr/>
        </p:nvSpPr>
        <p:spPr>
          <a:xfrm>
            <a:off x="334963" y="4841073"/>
            <a:ext cx="9797606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START UP CULTURE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1A22E-3034-4BCD-9227-861F09F47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5906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56">
            <a:extLst>
              <a:ext uri="{FF2B5EF4-FFF2-40B4-BE49-F238E27FC236}">
                <a16:creationId xmlns:a16="http://schemas.microsoft.com/office/drawing/2014/main" id="{EC5DF1B4-2568-40A1-BF9A-6050BA4A21B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alphaModFix amt="1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8" name="Picture 57" descr="A close up of a logo&#10;&#10;Description automatically generated">
            <a:extLst>
              <a:ext uri="{FF2B5EF4-FFF2-40B4-BE49-F238E27FC236}">
                <a16:creationId xmlns:a16="http://schemas.microsoft.com/office/drawing/2014/main" id="{9411BBCC-940B-4DC6-8702-43EE07B925A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9358"/>
            <a:ext cx="1219200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B7CD33-81CD-48C9-8234-FD863D2F2D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62404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erson standing in front of a mountain&#10;&#10;Description automatically generated">
            <a:extLst>
              <a:ext uri="{FF2B5EF4-FFF2-40B4-BE49-F238E27FC236}">
                <a16:creationId xmlns:a16="http://schemas.microsoft.com/office/drawing/2014/main" id="{349BAA82-E0D0-41A2-BCE9-A361412AAAA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736"/>
            <a:ext cx="12192000" cy="68580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9885AF9F-D219-48F3-8AEB-5FBE5299FED7}"/>
              </a:ext>
            </a:extLst>
          </p:cNvPr>
          <p:cNvSpPr txBox="1"/>
          <p:nvPr/>
        </p:nvSpPr>
        <p:spPr>
          <a:xfrm>
            <a:off x="133350" y="4091885"/>
            <a:ext cx="534543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EXECUTION</a:t>
            </a:r>
            <a:endParaRPr kumimoji="0" lang="en-GB" sz="6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1CBBDF1-5B21-472F-AE64-5D921ABB084F}"/>
              </a:ext>
            </a:extLst>
          </p:cNvPr>
          <p:cNvSpPr txBox="1"/>
          <p:nvPr/>
        </p:nvSpPr>
        <p:spPr>
          <a:xfrm>
            <a:off x="5284064" y="4032783"/>
            <a:ext cx="142915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200" b="0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vs</a:t>
            </a:r>
            <a:endParaRPr kumimoji="0" lang="en-GB" sz="6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AC6FBF2-3FBB-419F-936B-17BB49BECBF1}"/>
              </a:ext>
            </a:extLst>
          </p:cNvPr>
          <p:cNvSpPr txBox="1"/>
          <p:nvPr/>
        </p:nvSpPr>
        <p:spPr>
          <a:xfrm>
            <a:off x="6624369" y="4091885"/>
            <a:ext cx="537291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7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 Black" panose="02000000000000000000" pitchFamily="2" charset="0"/>
                <a:ea typeface="Roboto Black" panose="02000000000000000000" pitchFamily="2" charset="0"/>
              </a:rPr>
              <a:t>D</a:t>
            </a:r>
            <a:r>
              <a:rPr kumimoji="0" lang="en-GB" sz="6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ISCOVERY</a:t>
            </a:r>
            <a:endParaRPr kumimoji="0" lang="en-GB" sz="6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04ED29AE-34D0-419D-B7E9-D04165524E5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4FBEC3-BDAB-45FB-B3C7-4A66B68B3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73854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38" grpId="0"/>
      <p:bldP spid="3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393B4F-CCA3-498A-81D2-315DC1F85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b="0" dirty="0"/>
              <a:t>Start up Culture | </a:t>
            </a:r>
            <a:r>
              <a:rPr lang="en-GB" dirty="0"/>
              <a:t>Culture Drive to Entrench Adoption	</a:t>
            </a:r>
            <a:endParaRPr lang="en-US" dirty="0"/>
          </a:p>
        </p:txBody>
      </p:sp>
      <p:pic>
        <p:nvPicPr>
          <p:cNvPr id="20" name="Picture Placeholder 13" descr="A group of people in a room&#10;&#10;Description automatically generated">
            <a:extLst>
              <a:ext uri="{FF2B5EF4-FFF2-40B4-BE49-F238E27FC236}">
                <a16:creationId xmlns:a16="http://schemas.microsoft.com/office/drawing/2014/main" id="{A1D1AE74-23C2-4391-870E-432081F2705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55882" y="765175"/>
            <a:ext cx="3901154" cy="284797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422BA57-648C-484E-94D3-75C764C571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/>
          <a:stretch/>
        </p:blipFill>
        <p:spPr>
          <a:xfrm>
            <a:off x="334964" y="765175"/>
            <a:ext cx="7486650" cy="2847975"/>
          </a:xfrm>
          <a:prstGeom prst="rect">
            <a:avLst/>
          </a:prstGeom>
        </p:spPr>
      </p:pic>
      <p:pic>
        <p:nvPicPr>
          <p:cNvPr id="4" name="Picture 3" descr="A group of people sitting in front of a crowd&#10;&#10;Description automatically generated">
            <a:extLst>
              <a:ext uri="{FF2B5EF4-FFF2-40B4-BE49-F238E27FC236}">
                <a16:creationId xmlns:a16="http://schemas.microsoft.com/office/drawing/2014/main" id="{36132DB7-4794-433B-B72B-D7E95FA51B6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1437" y="3771598"/>
            <a:ext cx="9005599" cy="257364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AB54045-0F82-4C7B-B2B5-1BC71791B3D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97544" y="3429000"/>
            <a:ext cx="3901154" cy="3894252"/>
          </a:xfrm>
          <a:prstGeom prst="ellipse">
            <a:avLst/>
          </a:prstGeom>
          <a:ln w="34925">
            <a:solidFill>
              <a:srgbClr val="8FD4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151755-7B02-4C0E-91E5-7B3795F45F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670273"/>
      </p:ext>
    </p:extLst>
  </p:cSld>
  <p:clrMapOvr>
    <a:masterClrMapping/>
  </p:clrMapOvr>
  <p:transition spd="slow">
    <p:push dir="u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large tractor parked in the dirt&#10;&#10;Description automatically generated">
            <a:extLst>
              <a:ext uri="{FF2B5EF4-FFF2-40B4-BE49-F238E27FC236}">
                <a16:creationId xmlns:a16="http://schemas.microsoft.com/office/drawing/2014/main" id="{DB5BA200-691D-4CB7-A21E-3B2EE2B3177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27"/>
          <a:stretch/>
        </p:blipFill>
        <p:spPr>
          <a:xfrm>
            <a:off x="-55277" y="-1"/>
            <a:ext cx="12247275" cy="688657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BBB780C-79F4-41D8-9286-67095C97F7F6}"/>
              </a:ext>
            </a:extLst>
          </p:cNvPr>
          <p:cNvSpPr/>
          <p:nvPr/>
        </p:nvSpPr>
        <p:spPr>
          <a:xfrm>
            <a:off x="-55279" y="-139025"/>
            <a:ext cx="12247275" cy="7025599"/>
          </a:xfrm>
          <a:prstGeom prst="rect">
            <a:avLst/>
          </a:prstGeom>
          <a:gradFill flip="none" rotWithShape="1">
            <a:gsLst>
              <a:gs pos="50000">
                <a:srgbClr val="212F3F">
                  <a:alpha val="65000"/>
                </a:srgbClr>
              </a:gs>
              <a:gs pos="81000">
                <a:srgbClr val="212F3F"/>
              </a:gs>
              <a:gs pos="0">
                <a:srgbClr val="212F3F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4EAD98B-AF46-41D3-91DC-10C8D7E1196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3BD4BCD-35C7-4841-9A6E-C65397C69208}"/>
              </a:ext>
            </a:extLst>
          </p:cNvPr>
          <p:cNvSpPr/>
          <p:nvPr/>
        </p:nvSpPr>
        <p:spPr>
          <a:xfrm>
            <a:off x="-55275" y="4604084"/>
            <a:ext cx="12247275" cy="1076972"/>
          </a:xfrm>
          <a:prstGeom prst="rect">
            <a:avLst/>
          </a:prstGeom>
          <a:gradFill>
            <a:gsLst>
              <a:gs pos="97000">
                <a:schemeClr val="bg1">
                  <a:alpha val="0"/>
                </a:schemeClr>
              </a:gs>
              <a:gs pos="0">
                <a:srgbClr val="85C00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FEAAF6-9EDA-4780-930F-DF895DF3B943}"/>
              </a:ext>
            </a:extLst>
          </p:cNvPr>
          <p:cNvSpPr txBox="1"/>
          <p:nvPr/>
        </p:nvSpPr>
        <p:spPr>
          <a:xfrm>
            <a:off x="334963" y="4841073"/>
            <a:ext cx="9797606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WHAT’S NEXT?</a:t>
            </a:r>
            <a:endParaRPr kumimoji="0" lang="en-US" sz="7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5A1A22E-3034-4BCD-9227-861F09F47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4272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58E76C-C883-40B2-87B8-62F8AB493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989730-EB42-4AE5-BB97-5625C4FA2B88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A2B2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A2B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231710-1329-4DE5-86D7-D7AB298543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76" y="492923"/>
            <a:ext cx="10681380" cy="809625"/>
          </a:xfrm>
        </p:spPr>
        <p:txBody>
          <a:bodyPr/>
          <a:lstStyle/>
          <a:p>
            <a:r>
              <a:rPr lang="en-US" sz="2800" b="0" dirty="0"/>
              <a:t>What’s Next | </a:t>
            </a:r>
            <a:r>
              <a:rPr lang="en-US" dirty="0"/>
              <a:t>Exxaro to be a mining and resource “Innovation Magnet”</a:t>
            </a:r>
            <a:endParaRPr lang="es-AR" dirty="0"/>
          </a:p>
        </p:txBody>
      </p:sp>
      <p:sp>
        <p:nvSpPr>
          <p:cNvPr id="8" name="Rectangle 27">
            <a:extLst>
              <a:ext uri="{FF2B5EF4-FFF2-40B4-BE49-F238E27FC236}">
                <a16:creationId xmlns:a16="http://schemas.microsoft.com/office/drawing/2014/main" id="{2932A6E9-DE1F-4F93-839B-FC421ED37E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0766" y="2251560"/>
            <a:ext cx="5630721" cy="81719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74295" rIns="0" bIns="74295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32172" marR="0" lvl="0" indent="-232172" algn="l" defTabSz="742950" rtl="0" eaLnBrk="1" fontAlgn="auto" latinLnBrk="0" hangingPunct="1">
              <a:lnSpc>
                <a:spcPct val="100000"/>
              </a:lnSpc>
              <a:spcBef>
                <a:spcPts val="1463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W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5CF4C">
                    <a:lumMod val="75000"/>
                  </a:srgb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understand the real operational problem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that miners are facing, therefore ar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5CF4C">
                    <a:lumMod val="75000"/>
                  </a:srgb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able to detail the user requirements for solution development</a:t>
            </a:r>
          </a:p>
        </p:txBody>
      </p:sp>
      <p:sp>
        <p:nvSpPr>
          <p:cNvPr id="9" name="Rectangle 27">
            <a:extLst>
              <a:ext uri="{FF2B5EF4-FFF2-40B4-BE49-F238E27FC236}">
                <a16:creationId xmlns:a16="http://schemas.microsoft.com/office/drawing/2014/main" id="{1F0E1150-4C53-4E2A-8ABD-1BD1F5C47C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0766" y="3212669"/>
            <a:ext cx="5630720" cy="81719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74295" rIns="0" bIns="74295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32172" marR="0" lvl="0" indent="-232172" algn="l" defTabSz="742950" rtl="0" eaLnBrk="1" fontAlgn="auto" latinLnBrk="0" hangingPunct="1">
              <a:lnSpc>
                <a:spcPct val="100000"/>
              </a:lnSpc>
              <a:spcBef>
                <a:spcPts val="1463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We have a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5CF4C">
                    <a:lumMod val="75000"/>
                  </a:srgb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vast amount of technical IP in  mining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and therefore we ar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co-developing custom solutions with the technology providers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212F3F"/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11" name="Rectangle 27">
            <a:extLst>
              <a:ext uri="{FF2B5EF4-FFF2-40B4-BE49-F238E27FC236}">
                <a16:creationId xmlns:a16="http://schemas.microsoft.com/office/drawing/2014/main" id="{01AD3FB7-8A93-486F-BC1D-0170D54CC6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81407" y="4286107"/>
            <a:ext cx="5630720" cy="81719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74295" rIns="0" bIns="74295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32172" marR="0" lvl="0" indent="-232172" algn="l" defTabSz="742950" rtl="0" eaLnBrk="1" fontAlgn="auto" latinLnBrk="0" hangingPunct="1">
              <a:lnSpc>
                <a:spcPct val="100000"/>
              </a:lnSpc>
              <a:spcBef>
                <a:spcPts val="1463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We have operational assets and therefore we ar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5CF4C">
                    <a:lumMod val="75000"/>
                  </a:srgb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able to offer pilot test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A5CF4C">
                    <a:lumMod val="75000"/>
                  </a:srgb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 i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5CF4C">
                    <a:lumMod val="75000"/>
                  </a:srgb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a real operational environmen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that technology companies desperately need.</a:t>
            </a:r>
          </a:p>
        </p:txBody>
      </p:sp>
      <p:sp>
        <p:nvSpPr>
          <p:cNvPr id="20" name="Rectangle 1">
            <a:extLst>
              <a:ext uri="{FF2B5EF4-FFF2-40B4-BE49-F238E27FC236}">
                <a16:creationId xmlns:a16="http://schemas.microsoft.com/office/drawing/2014/main" id="{AE1B93D9-DEC3-485C-A3AF-270402E6B44B}"/>
              </a:ext>
            </a:extLst>
          </p:cNvPr>
          <p:cNvSpPr/>
          <p:nvPr/>
        </p:nvSpPr>
        <p:spPr>
          <a:xfrm>
            <a:off x="526942" y="1844675"/>
            <a:ext cx="5098943" cy="4500563"/>
          </a:xfrm>
          <a:prstGeom prst="rect">
            <a:avLst/>
          </a:prstGeom>
          <a:solidFill>
            <a:srgbClr val="3A2B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26">
            <a:extLst>
              <a:ext uri="{FF2B5EF4-FFF2-40B4-BE49-F238E27FC236}">
                <a16:creationId xmlns:a16="http://schemas.microsoft.com/office/drawing/2014/main" id="{83B918C8-9494-4518-A987-77A465B81973}"/>
              </a:ext>
            </a:extLst>
          </p:cNvPr>
          <p:cNvSpPr txBox="1"/>
          <p:nvPr/>
        </p:nvSpPr>
        <p:spPr>
          <a:xfrm>
            <a:off x="704961" y="1928901"/>
            <a:ext cx="4749355" cy="322659"/>
          </a:xfrm>
          <a:prstGeom prst="round2Same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Governance Mod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7685DF1-EC6A-433E-B1D0-C53FF7A0DA52}"/>
              </a:ext>
            </a:extLst>
          </p:cNvPr>
          <p:cNvSpPr/>
          <p:nvPr/>
        </p:nvSpPr>
        <p:spPr>
          <a:xfrm>
            <a:off x="704961" y="2335914"/>
            <a:ext cx="4749355" cy="552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Executive Sponso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3A8311-E8FE-45E5-8EB7-4DEA5DE21F63}"/>
              </a:ext>
            </a:extLst>
          </p:cNvPr>
          <p:cNvSpPr/>
          <p:nvPr/>
        </p:nvSpPr>
        <p:spPr>
          <a:xfrm>
            <a:off x="704961" y="3133203"/>
            <a:ext cx="4749355" cy="552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Steering Committee</a:t>
            </a:r>
            <a:b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(~Monthly)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212F3F"/>
              </a:solidFill>
              <a:effectLst/>
              <a:uLnTx/>
              <a:uFillTx/>
              <a:latin typeface="+mj-lt"/>
              <a:ea typeface="Verdana" panose="020B0604030504040204" pitchFamily="34" charset="0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8CD3A84-F03E-424F-952A-DFA0F6BADEC0}"/>
              </a:ext>
            </a:extLst>
          </p:cNvPr>
          <p:cNvSpPr/>
          <p:nvPr/>
        </p:nvSpPr>
        <p:spPr>
          <a:xfrm>
            <a:off x="704961" y="3898016"/>
            <a:ext cx="4749355" cy="552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Program Management</a:t>
            </a:r>
            <a:b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</a:b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(Weekly)</a:t>
            </a: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B54DBF-6968-49DB-8FF3-DB2E2F710B25}"/>
              </a:ext>
            </a:extLst>
          </p:cNvPr>
          <p:cNvSpPr/>
          <p:nvPr/>
        </p:nvSpPr>
        <p:spPr>
          <a:xfrm>
            <a:off x="704961" y="4663513"/>
            <a:ext cx="4749355" cy="5525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Delivery Team</a:t>
            </a:r>
            <a:b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(Daily Agile Scrums)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757218-00EF-4AED-BDE1-E33DEFD500D4}"/>
              </a:ext>
            </a:extLst>
          </p:cNvPr>
          <p:cNvSpPr/>
          <p:nvPr/>
        </p:nvSpPr>
        <p:spPr>
          <a:xfrm>
            <a:off x="704961" y="5297743"/>
            <a:ext cx="4749355" cy="2476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Workstream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636613-C10E-418A-A78A-6549A1476239}"/>
              </a:ext>
            </a:extLst>
          </p:cNvPr>
          <p:cNvSpPr/>
          <p:nvPr/>
        </p:nvSpPr>
        <p:spPr>
          <a:xfrm>
            <a:off x="704961" y="5599351"/>
            <a:ext cx="4749355" cy="2476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Digital Value Chain Lead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D526F2E-C574-465A-A8A7-70565D88C789}"/>
              </a:ext>
            </a:extLst>
          </p:cNvPr>
          <p:cNvSpPr/>
          <p:nvPr/>
        </p:nvSpPr>
        <p:spPr>
          <a:xfrm>
            <a:off x="704961" y="5900959"/>
            <a:ext cx="4749355" cy="2476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+mn-cs"/>
              </a:rPr>
              <a:t>Business Improvement Facilitator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C80B634-1949-4351-A44D-19E86D7156DE}"/>
              </a:ext>
            </a:extLst>
          </p:cNvPr>
          <p:cNvGrpSpPr/>
          <p:nvPr/>
        </p:nvGrpSpPr>
        <p:grpSpPr>
          <a:xfrm flipH="1">
            <a:off x="11135073" y="-112589"/>
            <a:ext cx="1683530" cy="1509616"/>
            <a:chOff x="45719" y="255271"/>
            <a:chExt cx="1683530" cy="1509616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50188A8-2023-44CB-BB23-2AD61D6EF41A}"/>
                </a:ext>
              </a:extLst>
            </p:cNvPr>
            <p:cNvGrpSpPr/>
            <p:nvPr/>
          </p:nvGrpSpPr>
          <p:grpSpPr>
            <a:xfrm rot="2700000">
              <a:off x="45719" y="484727"/>
              <a:ext cx="1280160" cy="1280160"/>
              <a:chOff x="2358572" y="1016001"/>
              <a:chExt cx="856342" cy="856342"/>
            </a:xfrm>
            <a:effectLst>
              <a:glow rad="152400">
                <a:schemeClr val="tx1">
                  <a:alpha val="10000"/>
                </a:schemeClr>
              </a:glow>
            </a:effectLst>
          </p:grpSpPr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68A87C0C-B24E-43D3-88B2-F7199FEB947B}"/>
                  </a:ext>
                </a:extLst>
              </p:cNvPr>
              <p:cNvCxnSpPr/>
              <p:nvPr/>
            </p:nvCxnSpPr>
            <p:spPr>
              <a:xfrm flipH="1">
                <a:off x="2786743" y="1016001"/>
                <a:ext cx="0" cy="856342"/>
              </a:xfrm>
              <a:prstGeom prst="line">
                <a:avLst/>
              </a:prstGeom>
              <a:ln w="2540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8A5D44EA-01D0-4013-8430-244D5F0489FC}"/>
                  </a:ext>
                </a:extLst>
              </p:cNvPr>
              <p:cNvCxnSpPr/>
              <p:nvPr/>
            </p:nvCxnSpPr>
            <p:spPr>
              <a:xfrm rot="5400000" flipH="1">
                <a:off x="2786743" y="986972"/>
                <a:ext cx="0" cy="856342"/>
              </a:xfrm>
              <a:prstGeom prst="line">
                <a:avLst/>
              </a:prstGeom>
              <a:ln w="2540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3B13375-12ED-4BD3-9087-8A1B28932A59}"/>
                </a:ext>
              </a:extLst>
            </p:cNvPr>
            <p:cNvGrpSpPr/>
            <p:nvPr/>
          </p:nvGrpSpPr>
          <p:grpSpPr>
            <a:xfrm rot="2700000">
              <a:off x="814849" y="255271"/>
              <a:ext cx="914400" cy="914400"/>
              <a:chOff x="2358572" y="1016001"/>
              <a:chExt cx="856342" cy="856342"/>
            </a:xfrm>
            <a:effectLst/>
          </p:grpSpPr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F55E08A6-D44C-4C7F-8C0D-D15CEEAD28B3}"/>
                  </a:ext>
                </a:extLst>
              </p:cNvPr>
              <p:cNvCxnSpPr/>
              <p:nvPr/>
            </p:nvCxnSpPr>
            <p:spPr>
              <a:xfrm flipH="1">
                <a:off x="2786743" y="1016001"/>
                <a:ext cx="0" cy="856342"/>
              </a:xfrm>
              <a:prstGeom prst="line">
                <a:avLst/>
              </a:prstGeom>
              <a:ln w="254000">
                <a:solidFill>
                  <a:srgbClr val="8FD4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A60DCA3F-078F-4892-8532-D85B3234AF59}"/>
                  </a:ext>
                </a:extLst>
              </p:cNvPr>
              <p:cNvCxnSpPr/>
              <p:nvPr/>
            </p:nvCxnSpPr>
            <p:spPr>
              <a:xfrm rot="5400000" flipH="1">
                <a:off x="2786743" y="986972"/>
                <a:ext cx="0" cy="856342"/>
              </a:xfrm>
              <a:prstGeom prst="line">
                <a:avLst/>
              </a:prstGeom>
              <a:ln w="254000">
                <a:solidFill>
                  <a:srgbClr val="8FD4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4A898CE-ECEE-4257-B3FF-5898A58B0DE7}"/>
                </a:ext>
              </a:extLst>
            </p:cNvPr>
            <p:cNvGrpSpPr/>
            <p:nvPr/>
          </p:nvGrpSpPr>
          <p:grpSpPr>
            <a:xfrm rot="2700000">
              <a:off x="751731" y="472912"/>
              <a:ext cx="457200" cy="457200"/>
              <a:chOff x="2358572" y="1016001"/>
              <a:chExt cx="856342" cy="85634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89C51272-3DA1-49C4-A984-3950B939251D}"/>
                  </a:ext>
                </a:extLst>
              </p:cNvPr>
              <p:cNvCxnSpPr/>
              <p:nvPr/>
            </p:nvCxnSpPr>
            <p:spPr>
              <a:xfrm flipH="1">
                <a:off x="2786743" y="1016001"/>
                <a:ext cx="0" cy="856342"/>
              </a:xfrm>
              <a:prstGeom prst="line">
                <a:avLst/>
              </a:prstGeom>
              <a:ln w="111125">
                <a:solidFill>
                  <a:srgbClr val="212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508AE344-821D-4AE9-A2F1-37052CE95DCC}"/>
                  </a:ext>
                </a:extLst>
              </p:cNvPr>
              <p:cNvCxnSpPr/>
              <p:nvPr/>
            </p:nvCxnSpPr>
            <p:spPr>
              <a:xfrm rot="5400000" flipH="1">
                <a:off x="2786743" y="986972"/>
                <a:ext cx="0" cy="856342"/>
              </a:xfrm>
              <a:prstGeom prst="line">
                <a:avLst/>
              </a:prstGeom>
              <a:ln w="111125">
                <a:solidFill>
                  <a:srgbClr val="212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3" name="Rectangle 27">
            <a:extLst>
              <a:ext uri="{FF2B5EF4-FFF2-40B4-BE49-F238E27FC236}">
                <a16:creationId xmlns:a16="http://schemas.microsoft.com/office/drawing/2014/main" id="{98301F98-E4A7-4033-81A0-42532A9363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2335" y="5282564"/>
            <a:ext cx="5630720" cy="81719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74295" rIns="0" bIns="74295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32172" marR="0" lvl="0" indent="-232172" algn="l" defTabSz="742950" rtl="0" eaLnBrk="1" fontAlgn="auto" latinLnBrk="0" hangingPunct="1">
              <a:lnSpc>
                <a:spcPct val="100000"/>
              </a:lnSpc>
              <a:spcBef>
                <a:spcPts val="1463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We ar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A5CF4C">
                    <a:lumMod val="75000"/>
                  </a:srgbClr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upskilling our workforce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charset="0"/>
              </a:rPr>
              <a:t>to be able to manage in a data driven organization and systems (e.g. through the IOC`s and data science)</a:t>
            </a:r>
          </a:p>
        </p:txBody>
      </p:sp>
    </p:spTree>
    <p:extLst>
      <p:ext uri="{BB962C8B-B14F-4D97-AF65-F5344CB8AC3E}">
        <p14:creationId xmlns:p14="http://schemas.microsoft.com/office/powerpoint/2010/main" val="4293528346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yellow and black truck sitting on top of a dirt field&#10;&#10;Description automatically generated">
            <a:extLst>
              <a:ext uri="{FF2B5EF4-FFF2-40B4-BE49-F238E27FC236}">
                <a16:creationId xmlns:a16="http://schemas.microsoft.com/office/drawing/2014/main" id="{7986F998-788D-4270-BCC5-4837BF4B550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A58BD9BC-F201-4F28-A9AD-511805E87691}"/>
              </a:ext>
            </a:extLst>
          </p:cNvPr>
          <p:cNvSpPr/>
          <p:nvPr/>
        </p:nvSpPr>
        <p:spPr>
          <a:xfrm>
            <a:off x="0" y="-20053"/>
            <a:ext cx="12192000" cy="6892249"/>
          </a:xfrm>
          <a:prstGeom prst="rect">
            <a:avLst/>
          </a:prstGeom>
          <a:gradFill flip="none" rotWithShape="1">
            <a:gsLst>
              <a:gs pos="51000">
                <a:srgbClr val="212F3F">
                  <a:alpha val="70000"/>
                </a:srgbClr>
              </a:gs>
              <a:gs pos="31000">
                <a:srgbClr val="212F3F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24F39F-98DE-4B39-A3D7-6BB3F4C56274}"/>
              </a:ext>
            </a:extLst>
          </p:cNvPr>
          <p:cNvSpPr txBox="1"/>
          <p:nvPr/>
        </p:nvSpPr>
        <p:spPr>
          <a:xfrm>
            <a:off x="184603" y="4116869"/>
            <a:ext cx="10643054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MAKE </a:t>
            </a:r>
            <a:r>
              <a:rPr kumimoji="0" lang="en-GB" sz="6600" b="0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DIGITAL</a:t>
            </a:r>
            <a:endParaRPr kumimoji="0" lang="en-GB" sz="6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6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TRANSFORMATION</a:t>
            </a:r>
          </a:p>
          <a:p>
            <a:pPr marL="0" marR="0" lvl="0" indent="0" algn="l" defTabSz="914400" rtl="0" eaLnBrk="1" fontAlgn="auto" latinLnBrk="0" hangingPunct="1">
              <a:lnSpc>
                <a:spcPts val="6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0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PAY FOR ITSELF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D75C018-7EB1-4A7C-AF92-8D03B4B461B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F278D8-DD95-4DF3-9CA2-4C0D99A37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373453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dry grass field&#10;&#10;Description automatically generated">
            <a:extLst>
              <a:ext uri="{FF2B5EF4-FFF2-40B4-BE49-F238E27FC236}">
                <a16:creationId xmlns:a16="http://schemas.microsoft.com/office/drawing/2014/main" id="{0BC1DECB-6A3D-4499-9453-DA902E27D34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CB646B5-A657-44CC-B9CA-3EAFA23FC2B0}"/>
              </a:ext>
            </a:extLst>
          </p:cNvPr>
          <p:cNvSpPr/>
          <p:nvPr/>
        </p:nvSpPr>
        <p:spPr>
          <a:xfrm>
            <a:off x="-38377" y="-34249"/>
            <a:ext cx="12192000" cy="6892249"/>
          </a:xfrm>
          <a:prstGeom prst="rect">
            <a:avLst/>
          </a:prstGeom>
          <a:gradFill flip="none" rotWithShape="1">
            <a:gsLst>
              <a:gs pos="51000">
                <a:srgbClr val="212F3F">
                  <a:alpha val="70000"/>
                </a:srgbClr>
              </a:gs>
              <a:gs pos="31000">
                <a:srgbClr val="212F3F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55F29A-2425-449B-AC6E-65F85B5FFD23}"/>
              </a:ext>
            </a:extLst>
          </p:cNvPr>
          <p:cNvSpPr txBox="1">
            <a:spLocks/>
          </p:cNvSpPr>
          <p:nvPr/>
        </p:nvSpPr>
        <p:spPr>
          <a:xfrm>
            <a:off x="218851" y="4109813"/>
            <a:ext cx="10744200" cy="223542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 defTabSz="914400">
              <a:lnSpc>
                <a:spcPts val="6200"/>
              </a:lnSpc>
              <a:defRPr/>
            </a:pP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TECHNOLOGY</a:t>
            </a:r>
            <a:r>
              <a:rPr kumimoji="0" lang="en-US" sz="6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 IN MINING </a:t>
            </a:r>
            <a:r>
              <a:rPr lang="en-US" sz="6600" cap="all" dirty="0">
                <a:solidFill>
                  <a:prstClr val="white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latin typeface="Roboto Black" panose="02000000000000000000" pitchFamily="2" charset="0"/>
                <a:ea typeface="Roboto Black" panose="02000000000000000000" pitchFamily="2" charset="0"/>
              </a:rPr>
              <a:t>can REDUCE the fixed cost in mining</a:t>
            </a:r>
            <a:endParaRPr kumimoji="0" lang="en-US" sz="6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17C67D8-B11F-46C1-ABBC-1BFA4798A37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7DA1893-5A27-49B2-94A9-8DDB3B068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148785"/>
      </p:ext>
    </p:extLst>
  </p:cSld>
  <p:clrMapOvr>
    <a:masterClrMapping/>
  </p:clrMapOvr>
  <p:transition spd="slow">
    <p:push dir="u"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unset in the background&#10;&#10;Description automatically generated">
            <a:extLst>
              <a:ext uri="{FF2B5EF4-FFF2-40B4-BE49-F238E27FC236}">
                <a16:creationId xmlns:a16="http://schemas.microsoft.com/office/drawing/2014/main" id="{6A3B1CEC-77E6-47C3-96E9-55F7797BAC7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845C125-22DF-4CF0-B30F-7D8A95CA782A}"/>
              </a:ext>
            </a:extLst>
          </p:cNvPr>
          <p:cNvSpPr/>
          <p:nvPr/>
        </p:nvSpPr>
        <p:spPr>
          <a:xfrm>
            <a:off x="0" y="0"/>
            <a:ext cx="12192000" cy="6958703"/>
          </a:xfrm>
          <a:prstGeom prst="rect">
            <a:avLst/>
          </a:prstGeom>
          <a:gradFill flip="none" rotWithShape="1">
            <a:gsLst>
              <a:gs pos="51000">
                <a:srgbClr val="212F3F">
                  <a:alpha val="70000"/>
                </a:srgbClr>
              </a:gs>
              <a:gs pos="31000">
                <a:srgbClr val="212F3F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8F7A02A-543A-44C3-B714-0EFC438D5F6F}"/>
              </a:ext>
            </a:extLst>
          </p:cNvPr>
          <p:cNvSpPr txBox="1">
            <a:spLocks/>
          </p:cNvSpPr>
          <p:nvPr/>
        </p:nvSpPr>
        <p:spPr>
          <a:xfrm>
            <a:off x="225099" y="2553733"/>
            <a:ext cx="10500959" cy="379150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WE </a:t>
            </a:r>
            <a:r>
              <a:rPr kumimoji="0" lang="en-GB" sz="6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ARE FOCUSING ON</a:t>
            </a:r>
          </a:p>
          <a:p>
            <a:pPr marL="0" marR="0" lvl="0" indent="0" algn="l" defTabSz="914400" rtl="0" eaLnBrk="1" fontAlgn="auto" latinLnBrk="0" hangingPunct="1">
              <a:lnSpc>
                <a:spcPts val="6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0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ORGANISATIONAL TRANSFORMATION</a:t>
            </a:r>
          </a:p>
          <a:p>
            <a:pPr marL="0" marR="0" lvl="0" indent="0" algn="l" defTabSz="914400" rtl="0" eaLnBrk="1" fontAlgn="auto" latinLnBrk="0" hangingPunct="1">
              <a:lnSpc>
                <a:spcPts val="6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0" i="0" u="none" strike="noStrike" kern="1200" cap="none" spc="0" normalizeH="0" baseline="0" noProof="0" dirty="0">
              <a:ln>
                <a:noFill/>
              </a:ln>
              <a:solidFill>
                <a:srgbClr val="8FD400"/>
              </a:solidFill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6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0" i="0" u="none" strike="noStrike" kern="1200" cap="none" spc="0" normalizeH="0" baseline="0" noProof="0" dirty="0">
                <a:ln>
                  <a:noFill/>
                </a:ln>
                <a:solidFill>
                  <a:srgbClr val="F6F8F8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NOT </a:t>
            </a:r>
            <a:r>
              <a:rPr kumimoji="0" lang="en-GB" sz="6000" b="0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POINT SOLUTION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4A79637-DAD8-4B77-982D-CE9404A6A8F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E29FEC-9BA5-4AE6-9883-86B2312E96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0269696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19C0D269-4818-4B16-BF47-65E3FFE70219}"/>
              </a:ext>
            </a:extLst>
          </p:cNvPr>
          <p:cNvSpPr/>
          <p:nvPr/>
        </p:nvSpPr>
        <p:spPr>
          <a:xfrm>
            <a:off x="5496191" y="1"/>
            <a:ext cx="6724649" cy="6906126"/>
          </a:xfrm>
          <a:prstGeom prst="rect">
            <a:avLst/>
          </a:prstGeom>
          <a:solidFill>
            <a:srgbClr val="3A2B26"/>
          </a:solidFill>
          <a:ln w="762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af-ZA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37A04AF-D28E-43F3-BEF1-2CB36A4134D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684" y="2359370"/>
            <a:ext cx="4981094" cy="27180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3A03B9C-9946-4B34-9168-9C3C2607834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39" name="Title 2">
            <a:extLst>
              <a:ext uri="{FF2B5EF4-FFF2-40B4-BE49-F238E27FC236}">
                <a16:creationId xmlns:a16="http://schemas.microsoft.com/office/drawing/2014/main" id="{34C999DF-574C-46C9-AD06-5ADBEC75D38E}"/>
              </a:ext>
            </a:extLst>
          </p:cNvPr>
          <p:cNvSpPr txBox="1">
            <a:spLocks/>
          </p:cNvSpPr>
          <p:nvPr/>
        </p:nvSpPr>
        <p:spPr>
          <a:xfrm>
            <a:off x="6684149" y="1732600"/>
            <a:ext cx="2055554" cy="849739"/>
          </a:xfrm>
          <a:prstGeom prst="rect">
            <a:avLst/>
          </a:prstGeom>
        </p:spPr>
        <p:txBody>
          <a:bodyPr anchor="ctr"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Verdana" panose="020B0604030504040204" pitchFamily="34" charset="0"/>
                <a:cs typeface="Arial" panose="020B0604020202020204" pitchFamily="34" charset="0"/>
              </a:rPr>
              <a:t>Our goal is </a:t>
            </a:r>
          </a:p>
          <a:p>
            <a:pPr marL="0" marR="0" lvl="0" indent="0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Verdana" panose="020B0604030504040204" pitchFamily="34" charset="0"/>
                <a:cs typeface="Arial" panose="020B0604020202020204" pitchFamily="34" charset="0"/>
              </a:rPr>
              <a:t>to achieve</a:t>
            </a:r>
            <a:endParaRPr kumimoji="0" lang="en-ZA" sz="2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30EA74FB-5ADB-45CC-BC31-13F342EB7B0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40403" y="2644128"/>
            <a:ext cx="1056927" cy="974355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34A00043-25C3-4CC1-B4CB-CADE193CEF40}"/>
              </a:ext>
            </a:extLst>
          </p:cNvPr>
          <p:cNvSpPr txBox="1">
            <a:spLocks/>
          </p:cNvSpPr>
          <p:nvPr/>
        </p:nvSpPr>
        <p:spPr>
          <a:xfrm>
            <a:off x="6275388" y="1968372"/>
            <a:ext cx="3365362" cy="2325869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0" b="1" i="0" u="none" strike="noStrike" kern="1200" cap="none" spc="-300" normalizeH="0" baseline="0" noProof="0" dirty="0">
                <a:ln>
                  <a:noFill/>
                </a:ln>
                <a:solidFill>
                  <a:srgbClr val="8FD400"/>
                </a:solidFill>
                <a:effectLst/>
                <a:uLnTx/>
                <a:uFillTx/>
                <a:ea typeface="Roboto Slab" pitchFamily="2" charset="0"/>
                <a:cs typeface="Arial" panose="020B0604020202020204" pitchFamily="34" charset="0"/>
              </a:rPr>
              <a:t>25%</a:t>
            </a:r>
            <a:endParaRPr kumimoji="0" lang="en-ZA" sz="12000" b="1" i="0" u="none" strike="noStrike" kern="1200" cap="none" spc="-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76A126B3-7998-463E-809F-B526A79AD160}"/>
              </a:ext>
            </a:extLst>
          </p:cNvPr>
          <p:cNvSpPr txBox="1">
            <a:spLocks/>
          </p:cNvSpPr>
          <p:nvPr/>
        </p:nvSpPr>
        <p:spPr>
          <a:xfrm>
            <a:off x="6541622" y="3380605"/>
            <a:ext cx="4455854" cy="1509088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400" b="1" i="0" u="none" strike="noStrike" kern="1200" cap="none" spc="0" normalizeH="0" baseline="0" noProof="0" dirty="0">
                <a:ln>
                  <a:noFill/>
                </a:ln>
                <a:solidFill>
                  <a:srgbClr val="8FD400"/>
                </a:solidFill>
                <a:effectLst/>
                <a:uLnTx/>
                <a:uFillTx/>
                <a:ea typeface="Roboto Slab" pitchFamily="2" charset="0"/>
                <a:cs typeface="Arial" panose="020B0604020202020204" pitchFamily="34" charset="0"/>
              </a:rPr>
              <a:t>PRODUCTIVITY </a:t>
            </a:r>
          </a:p>
          <a:p>
            <a:pPr marL="0" marR="0" lvl="0" indent="0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500" b="1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2BAB8864-B693-4C39-BCAB-169262B690BD}"/>
              </a:ext>
            </a:extLst>
          </p:cNvPr>
          <p:cNvSpPr txBox="1">
            <a:spLocks/>
          </p:cNvSpPr>
          <p:nvPr/>
        </p:nvSpPr>
        <p:spPr>
          <a:xfrm>
            <a:off x="6556413" y="3405496"/>
            <a:ext cx="4455854" cy="2325869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b="1" i="0" u="none" strike="noStrike" kern="1200" cap="none" spc="0" normalizeH="0" baseline="0" noProof="0" dirty="0">
              <a:ln>
                <a:noFill/>
              </a:ln>
              <a:solidFill>
                <a:srgbClr val="8FD400"/>
              </a:solidFill>
              <a:effectLst/>
              <a:uLnTx/>
              <a:uFillTx/>
              <a:ea typeface="Roboto Slab" pitchFamily="2" charset="0"/>
              <a:cs typeface="Arial" panose="020B0604020202020204" pitchFamily="34" charset="0"/>
            </a:endParaRPr>
          </a:p>
          <a:p>
            <a:pPr marL="0" marR="0" lvl="0" indent="0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600" i="0" u="none" strike="noStrike" kern="1200" cap="none" spc="0" normalizeH="0" baseline="0" noProof="0" dirty="0">
                <a:ln>
                  <a:noFill/>
                </a:ln>
                <a:solidFill>
                  <a:srgbClr val="85C004"/>
                </a:solidFill>
                <a:effectLst/>
                <a:uLnTx/>
                <a:uFillTx/>
                <a:latin typeface="+mn-lt"/>
                <a:ea typeface="Verdana" panose="020B0604030504040204" pitchFamily="34" charset="0"/>
                <a:cs typeface="Arial" panose="020B0604020202020204" pitchFamily="34" charset="0"/>
              </a:rPr>
              <a:t>improvement </a:t>
            </a:r>
            <a:r>
              <a:rPr kumimoji="0" lang="en-ZA" sz="36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Verdana" panose="020B0604030504040204" pitchFamily="34" charset="0"/>
                <a:cs typeface="Arial" panose="020B0604020202020204" pitchFamily="34" charset="0"/>
              </a:rPr>
              <a:t>using </a:t>
            </a:r>
          </a:p>
          <a:p>
            <a:pPr marL="0" marR="0" lvl="0" indent="0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300" b="1" i="0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Arial" panose="020B0604020202020204" pitchFamily="34" charset="0"/>
              </a:rPr>
              <a:t>DIGITALISATION </a:t>
            </a:r>
          </a:p>
          <a:p>
            <a:pPr marL="0" marR="0" lvl="0" indent="0" defTabSz="914377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300" b="1" i="0" u="none" strike="noStrike" kern="1200" cap="none" spc="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Arial" panose="020B0604020202020204" pitchFamily="34" charset="0"/>
              </a:rPr>
              <a:t>AND INNOV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0E17A8-98C4-464B-9FEC-BF9C84D9DC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13838" y="6426421"/>
            <a:ext cx="2743200" cy="365125"/>
          </a:xfrm>
        </p:spPr>
        <p:txBody>
          <a:bodyPr/>
          <a:lstStyle/>
          <a:p>
            <a:fld id="{E1989730-EB42-4AE5-BB97-5625C4FA2B88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058876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6" presetClass="emph" presetSubtype="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39" grpId="0"/>
      <p:bldP spid="9" grpId="0"/>
      <p:bldP spid="9" grpId="1"/>
      <p:bldP spid="10" grpId="0"/>
      <p:bldP spid="11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75A6902-3B3E-405B-9F55-FD14FCC2C02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79" y="-1"/>
            <a:ext cx="12191999" cy="685800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EDBC51-2725-4023-AFB3-4D03EB97E73C}"/>
              </a:ext>
            </a:extLst>
          </p:cNvPr>
          <p:cNvSpPr/>
          <p:nvPr/>
        </p:nvSpPr>
        <p:spPr>
          <a:xfrm>
            <a:off x="-55277" y="-148549"/>
            <a:ext cx="12247275" cy="7025599"/>
          </a:xfrm>
          <a:prstGeom prst="rect">
            <a:avLst/>
          </a:prstGeom>
          <a:gradFill flip="none" rotWithShape="1">
            <a:gsLst>
              <a:gs pos="50000">
                <a:srgbClr val="212F3F">
                  <a:alpha val="65000"/>
                </a:srgbClr>
              </a:gs>
              <a:gs pos="81000">
                <a:srgbClr val="212F3F"/>
              </a:gs>
              <a:gs pos="0">
                <a:srgbClr val="212F3F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22FADBA-4FAA-467A-ADCE-1CE0DA2724C1}"/>
              </a:ext>
            </a:extLst>
          </p:cNvPr>
          <p:cNvSpPr txBox="1"/>
          <p:nvPr/>
        </p:nvSpPr>
        <p:spPr>
          <a:xfrm>
            <a:off x="2619213" y="3791693"/>
            <a:ext cx="46408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/>
            <a:r>
              <a:rPr lang="en-GB" sz="3600" dirty="0">
                <a:solidFill>
                  <a:srgbClr val="8FD4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 Black" panose="02000000000000000000" pitchFamily="2" charset="0"/>
                <a:ea typeface="Roboto Black" panose="02000000000000000000" pitchFamily="2" charset="0"/>
              </a:rPr>
              <a:t>Pleasure </a:t>
            </a:r>
            <a:r>
              <a:rPr lang="en-GB" sz="3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 Black" panose="02000000000000000000" pitchFamily="2" charset="0"/>
                <a:ea typeface="Roboto Black" panose="02000000000000000000" pitchFamily="2" charset="0"/>
              </a:rPr>
              <a:t>Mnisi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E3C2974-437D-4B02-861C-A6AB54A1B623}"/>
              </a:ext>
            </a:extLst>
          </p:cNvPr>
          <p:cNvSpPr txBox="1"/>
          <p:nvPr/>
        </p:nvSpPr>
        <p:spPr>
          <a:xfrm>
            <a:off x="2613664" y="4379370"/>
            <a:ext cx="45571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/>
            <a:r>
              <a:rPr lang="en-GB" sz="2000" dirty="0">
                <a:solidFill>
                  <a:srgbClr val="8FD4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 Black" panose="02000000000000000000" pitchFamily="2" charset="0"/>
                <a:ea typeface="Roboto Black" panose="02000000000000000000" pitchFamily="2" charset="0"/>
              </a:rPr>
              <a:t>Business Optimisation</a:t>
            </a:r>
          </a:p>
          <a:p>
            <a:pPr lvl="0" defTabSz="914400"/>
            <a:r>
              <a:rPr lang="en-GB" sz="2000" dirty="0">
                <a:solidFill>
                  <a:srgbClr val="8FD4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 Black" panose="02000000000000000000" pitchFamily="2" charset="0"/>
                <a:ea typeface="Roboto Black" panose="02000000000000000000" pitchFamily="2" charset="0"/>
              </a:rPr>
              <a:t>Exxaro</a:t>
            </a:r>
            <a:endParaRPr lang="en-GB" sz="20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 Black" panose="02000000000000000000" pitchFamily="2" charset="0"/>
              <a:ea typeface="Roboto Black" panose="02000000000000000000" pitchFamily="2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D5547D0-2987-490C-B4BB-35C71EE101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BE2235F-F1E5-4D26-B38A-CC02E7B08084}"/>
              </a:ext>
            </a:extLst>
          </p:cNvPr>
          <p:cNvSpPr txBox="1"/>
          <p:nvPr/>
        </p:nvSpPr>
        <p:spPr>
          <a:xfrm>
            <a:off x="2311607" y="2649649"/>
            <a:ext cx="7568786" cy="1142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>
              <a:lnSpc>
                <a:spcPts val="8000"/>
              </a:lnSpc>
            </a:pPr>
            <a:r>
              <a:rPr lang="en-GB" sz="96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 Black" panose="02000000000000000000" pitchFamily="2" charset="0"/>
                <a:ea typeface="Roboto Black" panose="02000000000000000000" pitchFamily="2" charset="0"/>
              </a:rPr>
              <a:t>THANK YOU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357F8C-8956-4A73-B05F-9D18950888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751687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group of people in a field&#10;&#10;Description automatically generated">
            <a:extLst>
              <a:ext uri="{FF2B5EF4-FFF2-40B4-BE49-F238E27FC236}">
                <a16:creationId xmlns:a16="http://schemas.microsoft.com/office/drawing/2014/main" id="{81F188CC-5B5F-40D7-9486-615532B218F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F00EB7D2-C23B-49D5-957B-32750901E251}"/>
              </a:ext>
            </a:extLst>
          </p:cNvPr>
          <p:cNvSpPr/>
          <p:nvPr/>
        </p:nvSpPr>
        <p:spPr>
          <a:xfrm>
            <a:off x="0" y="-17833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2D3441">
                  <a:alpha val="67000"/>
                </a:srgbClr>
              </a:gs>
              <a:gs pos="86000">
                <a:srgbClr val="212F3F">
                  <a:alpha val="70000"/>
                </a:srgbClr>
              </a:gs>
              <a:gs pos="42000">
                <a:srgbClr val="212F3F">
                  <a:alpha val="57000"/>
                </a:srgb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8C64FCF-8B1A-44BB-A92C-4BC4E3FEA8F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3F6E4F-B077-4555-892F-75564BBB8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AR" dirty="0">
                <a:solidFill>
                  <a:schemeClr val="bg1"/>
                </a:solidFill>
              </a:rPr>
              <a:t>THE 3 BIG CHALLENGES?</a:t>
            </a:r>
            <a:br>
              <a:rPr lang="es-AR" dirty="0">
                <a:solidFill>
                  <a:schemeClr val="bg1"/>
                </a:solidFill>
              </a:rPr>
            </a:br>
            <a:endParaRPr lang="es-AR" dirty="0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D22690A-3D0E-4FDD-83D3-42AA58C1FE91}"/>
              </a:ext>
            </a:extLst>
          </p:cNvPr>
          <p:cNvGrpSpPr/>
          <p:nvPr/>
        </p:nvGrpSpPr>
        <p:grpSpPr>
          <a:xfrm>
            <a:off x="9283895" y="3063169"/>
            <a:ext cx="2285339" cy="2473194"/>
            <a:chOff x="9286819" y="2680384"/>
            <a:chExt cx="2285339" cy="2473194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9F9FF7-BDD7-4A62-BEA2-2F2307CE4704}"/>
                </a:ext>
              </a:extLst>
            </p:cNvPr>
            <p:cNvSpPr txBox="1"/>
            <p:nvPr/>
          </p:nvSpPr>
          <p:spPr>
            <a:xfrm>
              <a:off x="9337360" y="3577548"/>
              <a:ext cx="2234798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dirty="0">
                  <a:solidFill>
                    <a:schemeClr val="bg1"/>
                  </a:solidFill>
                  <a:latin typeface="+mj-lt"/>
                  <a:ea typeface="Roboto Black" panose="02000000000000000000" pitchFamily="2" charset="0"/>
                </a:rPr>
                <a:t>Start up </a:t>
              </a:r>
              <a:r>
                <a:rPr lang="en-US" sz="4400" b="1" dirty="0">
                  <a:solidFill>
                    <a:srgbClr val="8FD400"/>
                  </a:solidFill>
                  <a:latin typeface="Roboto Black" panose="02000000000000000000" pitchFamily="2" charset="0"/>
                  <a:ea typeface="Roboto Black" panose="02000000000000000000" pitchFamily="2" charset="0"/>
                </a:rPr>
                <a:t>culture</a:t>
              </a:r>
              <a:endParaRPr lang="en-US" sz="4400" b="1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B7BF20A8-A057-4764-9B1B-137AE5D4D29B}"/>
                </a:ext>
              </a:extLst>
            </p:cNvPr>
            <p:cNvSpPr/>
            <p:nvPr/>
          </p:nvSpPr>
          <p:spPr>
            <a:xfrm>
              <a:off x="9286819" y="2680384"/>
              <a:ext cx="1845096" cy="2473194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en-ZA" sz="19900" b="1">
                  <a:solidFill>
                    <a:schemeClr val="bg1">
                      <a:alpha val="38000"/>
                    </a:schemeClr>
                  </a:solidFill>
                  <a:latin typeface="Arial Black" panose="020B0A04020102020204" pitchFamily="34" charset="0"/>
                </a:rPr>
                <a:t>3</a:t>
              </a:r>
              <a:endParaRPr lang="en-ZA" sz="19900" b="1" dirty="0">
                <a:solidFill>
                  <a:schemeClr val="bg1">
                    <a:alpha val="38000"/>
                  </a:schemeClr>
                </a:solidFill>
                <a:latin typeface="Arial Black" panose="020B0A04020102020204" pitchFamily="34" charset="0"/>
              </a:endParaRPr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31D5AE40-8934-48BC-BACB-5566E4AF0CB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485467" y="2833635"/>
              <a:ext cx="723900" cy="87414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59558E0-D14D-424C-93EA-0ACDEE751183}"/>
              </a:ext>
            </a:extLst>
          </p:cNvPr>
          <p:cNvGrpSpPr/>
          <p:nvPr/>
        </p:nvGrpSpPr>
        <p:grpSpPr>
          <a:xfrm>
            <a:off x="4607405" y="3194657"/>
            <a:ext cx="3758799" cy="2212226"/>
            <a:chOff x="4610329" y="2811872"/>
            <a:chExt cx="3758799" cy="2212226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0F9AABF-07F0-4652-A47C-96A74D08366A}"/>
                </a:ext>
              </a:extLst>
            </p:cNvPr>
            <p:cNvSpPr txBox="1"/>
            <p:nvPr/>
          </p:nvSpPr>
          <p:spPr>
            <a:xfrm>
              <a:off x="4610329" y="3577548"/>
              <a:ext cx="3758799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dirty="0">
                  <a:solidFill>
                    <a:schemeClr val="bg1"/>
                  </a:solidFill>
                  <a:latin typeface="+mj-lt"/>
                  <a:ea typeface="Roboto Black" panose="02000000000000000000" pitchFamily="2" charset="0"/>
                </a:rPr>
                <a:t>How to realise the </a:t>
              </a:r>
              <a:r>
                <a:rPr lang="en-US" sz="4400" b="1" dirty="0">
                  <a:solidFill>
                    <a:srgbClr val="8FD400"/>
                  </a:solidFill>
                  <a:latin typeface="Roboto Black" panose="02000000000000000000" pitchFamily="2" charset="0"/>
                  <a:ea typeface="Roboto Black" panose="02000000000000000000" pitchFamily="2" charset="0"/>
                </a:rPr>
                <a:t>value</a:t>
              </a:r>
            </a:p>
          </p:txBody>
        </p: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E58DB46F-B67D-422F-B533-F2A081DCC7D3}"/>
                </a:ext>
              </a:extLst>
            </p:cNvPr>
            <p:cNvSpPr/>
            <p:nvPr/>
          </p:nvSpPr>
          <p:spPr>
            <a:xfrm>
              <a:off x="4895853" y="3024706"/>
              <a:ext cx="1881377" cy="178455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en-ZA" sz="19900" b="1" dirty="0">
                  <a:solidFill>
                    <a:schemeClr val="bg1">
                      <a:alpha val="38000"/>
                    </a:schemeClr>
                  </a:solidFill>
                  <a:latin typeface="Arial Black" panose="020B0A04020102020204" pitchFamily="34" charset="0"/>
                </a:rPr>
                <a:t>2</a:t>
              </a:r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F7BC837F-7CF8-41E2-826C-399C28E38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04121" y="2811872"/>
              <a:ext cx="723899" cy="880708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B0B8F2E9-1D01-4831-A466-FF75F360E524}"/>
              </a:ext>
            </a:extLst>
          </p:cNvPr>
          <p:cNvGrpSpPr/>
          <p:nvPr/>
        </p:nvGrpSpPr>
        <p:grpSpPr>
          <a:xfrm>
            <a:off x="332040" y="2817248"/>
            <a:ext cx="2797076" cy="2965037"/>
            <a:chOff x="334964" y="2434463"/>
            <a:chExt cx="2797076" cy="2965037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BB9BB3C-0ABD-4845-82F9-7DCED7E44AC4}"/>
                </a:ext>
              </a:extLst>
            </p:cNvPr>
            <p:cNvSpPr txBox="1"/>
            <p:nvPr/>
          </p:nvSpPr>
          <p:spPr>
            <a:xfrm>
              <a:off x="747904" y="3577548"/>
              <a:ext cx="2384136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+mj-lt"/>
                  <a:ea typeface="Roboto Black" panose="02000000000000000000" pitchFamily="2" charset="0"/>
                </a:rPr>
                <a:t>Where</a:t>
              </a:r>
              <a:r>
                <a:rPr kumimoji="0" lang="en-US" sz="4400" b="0" i="0" u="none" strike="noStrike" kern="1200" cap="none" spc="0" normalizeH="0" noProof="0" dirty="0">
                  <a:ln>
                    <a:noFill/>
                  </a:ln>
                  <a:solidFill>
                    <a:prstClr val="white"/>
                  </a:solidFill>
                  <a:uLnTx/>
                  <a:uFillTx/>
                  <a:latin typeface="+mj-lt"/>
                  <a:ea typeface="Roboto Black" panose="02000000000000000000" pitchFamily="2" charset="0"/>
                </a:rPr>
                <a:t> to </a:t>
              </a:r>
              <a:r>
                <a:rPr lang="en-US" sz="4400" b="1" dirty="0">
                  <a:solidFill>
                    <a:srgbClr val="8FD400"/>
                  </a:solidFill>
                  <a:latin typeface="Roboto Black" panose="02000000000000000000" pitchFamily="2" charset="0"/>
                  <a:ea typeface="Roboto Black" panose="02000000000000000000" pitchFamily="2" charset="0"/>
                </a:rPr>
                <a:t>start</a:t>
              </a: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013D926C-2102-4AD3-B5A9-803CB804B7A6}"/>
                </a:ext>
              </a:extLst>
            </p:cNvPr>
            <p:cNvSpPr/>
            <p:nvPr/>
          </p:nvSpPr>
          <p:spPr>
            <a:xfrm>
              <a:off x="334964" y="2434463"/>
              <a:ext cx="1224524" cy="2965037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en-ZA" sz="19900" b="1" dirty="0">
                  <a:solidFill>
                    <a:schemeClr val="bg1">
                      <a:alpha val="38000"/>
                    </a:schemeClr>
                  </a:solidFill>
                  <a:latin typeface="Arial Black" panose="020B0A04020102020204" pitchFamily="34" charset="0"/>
                </a:rPr>
                <a:t>1</a:t>
              </a:r>
            </a:p>
          </p:txBody>
        </p:sp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F86407A8-CBD1-4A38-B3C0-A2DEA2423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59159" y="2880287"/>
              <a:ext cx="800329" cy="800329"/>
            </a:xfrm>
            <a:prstGeom prst="rect">
              <a:avLst/>
            </a:prstGeom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88FFB422-ED26-4066-AF6A-745FFE7FE9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52859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lide Number Placeholder 50">
            <a:extLst>
              <a:ext uri="{FF2B5EF4-FFF2-40B4-BE49-F238E27FC236}">
                <a16:creationId xmlns:a16="http://schemas.microsoft.com/office/drawing/2014/main" id="{487EE3BC-AB20-43C0-A4A7-3272110AFE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5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3D69F47-F2DA-40EF-B859-0D260D7CC1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2" y="242887"/>
            <a:ext cx="11062119" cy="809625"/>
          </a:xfrm>
        </p:spPr>
        <p:txBody>
          <a:bodyPr/>
          <a:lstStyle/>
          <a:p>
            <a:r>
              <a:rPr lang="en-US" sz="2800" b="0" dirty="0"/>
              <a:t>Where to start </a:t>
            </a:r>
            <a:r>
              <a:rPr lang="en-US" b="0" dirty="0"/>
              <a:t>| </a:t>
            </a:r>
            <a:r>
              <a:rPr lang="en-US" dirty="0"/>
              <a:t>Our program is geared towards improving productivity and reducing cost </a:t>
            </a:r>
            <a:endParaRPr lang="es-AR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D77D24-6F97-4DA7-9786-AD9A5829327D}"/>
              </a:ext>
            </a:extLst>
          </p:cNvPr>
          <p:cNvSpPr/>
          <p:nvPr/>
        </p:nvSpPr>
        <p:spPr>
          <a:xfrm>
            <a:off x="2877661" y="3443899"/>
            <a:ext cx="2340000" cy="1764000"/>
          </a:xfrm>
          <a:prstGeom prst="rect">
            <a:avLst/>
          </a:prstGeom>
          <a:solidFill>
            <a:srgbClr val="A5CF4C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1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2EC0E89-9608-41DD-B965-E83AF74352DF}"/>
              </a:ext>
            </a:extLst>
          </p:cNvPr>
          <p:cNvSpPr/>
          <p:nvPr/>
        </p:nvSpPr>
        <p:spPr>
          <a:xfrm>
            <a:off x="347702" y="3443899"/>
            <a:ext cx="2340000" cy="1764000"/>
          </a:xfrm>
          <a:prstGeom prst="rect">
            <a:avLst/>
          </a:prstGeom>
          <a:solidFill>
            <a:srgbClr val="A5CF4C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1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B5396C6-1C2E-4C45-A000-82E6B2DA0CEA}"/>
              </a:ext>
            </a:extLst>
          </p:cNvPr>
          <p:cNvSpPr/>
          <p:nvPr/>
        </p:nvSpPr>
        <p:spPr>
          <a:xfrm>
            <a:off x="5407620" y="3443899"/>
            <a:ext cx="2916000" cy="1764000"/>
          </a:xfrm>
          <a:prstGeom prst="rect">
            <a:avLst/>
          </a:prstGeom>
          <a:solidFill>
            <a:srgbClr val="A5CF4C"/>
          </a:solidFill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1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45F8149-E863-4D0A-9DB9-D683B952D94B}"/>
              </a:ext>
            </a:extLst>
          </p:cNvPr>
          <p:cNvGrpSpPr/>
          <p:nvPr/>
        </p:nvGrpSpPr>
        <p:grpSpPr>
          <a:xfrm>
            <a:off x="0" y="5441476"/>
            <a:ext cx="12192000" cy="910016"/>
            <a:chOff x="0" y="5267452"/>
            <a:chExt cx="12192000" cy="1084040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C7FFA5C-3630-43B4-8786-192460B6A9E7}"/>
                </a:ext>
              </a:extLst>
            </p:cNvPr>
            <p:cNvSpPr/>
            <p:nvPr/>
          </p:nvSpPr>
          <p:spPr>
            <a:xfrm>
              <a:off x="0" y="5267452"/>
              <a:ext cx="12192000" cy="326572"/>
            </a:xfrm>
            <a:prstGeom prst="rect">
              <a:avLst/>
            </a:prstGeom>
            <a:solidFill>
              <a:srgbClr val="3A2B26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normalizeH="0" baseline="0" noProof="0" dirty="0">
                  <a:solidFill>
                    <a:srgbClr val="FFFFFF"/>
                  </a:solidFill>
                  <a:uLnTx/>
                  <a:uFillTx/>
                  <a:latin typeface="+mj-lt"/>
                  <a:ea typeface="Verdana" panose="020B0604030504040204" pitchFamily="34" charset="0"/>
                  <a:cs typeface="+mn-cs"/>
                </a:rPr>
                <a:t>Business Optimisation System Implementation across at all operations (MOS)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836F9058-BB58-42C0-A838-F1CDAF5E9077}"/>
                </a:ext>
              </a:extLst>
            </p:cNvPr>
            <p:cNvSpPr/>
            <p:nvPr/>
          </p:nvSpPr>
          <p:spPr>
            <a:xfrm>
              <a:off x="0" y="5646186"/>
              <a:ext cx="12192000" cy="326572"/>
            </a:xfrm>
            <a:prstGeom prst="rect">
              <a:avLst/>
            </a:prstGeom>
            <a:solidFill>
              <a:srgbClr val="5FA0BB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normalizeH="0" baseline="0" noProof="0" dirty="0">
                  <a:solidFill>
                    <a:srgbClr val="FFFFFF"/>
                  </a:solidFill>
                  <a:uLnTx/>
                  <a:uFillTx/>
                  <a:latin typeface="+mj-lt"/>
                  <a:ea typeface="Verdana" panose="020B0604030504040204" pitchFamily="34" charset="0"/>
                  <a:cs typeface="+mn-cs"/>
                </a:rPr>
                <a:t>Consolidation &amp; Banking of Coal Strategy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10078DD-998E-4ECD-A463-E38CDA4902FB}"/>
                </a:ext>
              </a:extLst>
            </p:cNvPr>
            <p:cNvSpPr/>
            <p:nvPr/>
          </p:nvSpPr>
          <p:spPr>
            <a:xfrm>
              <a:off x="0" y="6024920"/>
              <a:ext cx="12192000" cy="326572"/>
            </a:xfrm>
            <a:prstGeom prst="rect">
              <a:avLst/>
            </a:prstGeom>
            <a:solidFill>
              <a:srgbClr val="8FAE8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0" normalizeH="0" baseline="0" noProof="0" dirty="0">
                  <a:solidFill>
                    <a:srgbClr val="FFFFFF"/>
                  </a:solidFill>
                  <a:uLnTx/>
                  <a:uFillTx/>
                  <a:latin typeface="+mj-lt"/>
                  <a:ea typeface="Verdana" panose="020B0604030504040204" pitchFamily="34" charset="0"/>
                  <a:cs typeface="+mn-cs"/>
                </a:rPr>
                <a:t>“XXX” – Value Consolidation</a:t>
              </a: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9F338E78-E47C-4FB8-B348-70D57E5428E5}"/>
              </a:ext>
            </a:extLst>
          </p:cNvPr>
          <p:cNvSpPr/>
          <p:nvPr/>
        </p:nvSpPr>
        <p:spPr>
          <a:xfrm>
            <a:off x="8469188" y="1239745"/>
            <a:ext cx="2437045" cy="4089753"/>
          </a:xfrm>
          <a:prstGeom prst="rect">
            <a:avLst/>
          </a:prstGeom>
          <a:solidFill>
            <a:srgbClr val="A5CF4C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3F82004-A4DA-4184-BECE-18E84F3C6E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8737" y="1751862"/>
            <a:ext cx="1830296" cy="88037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4BD5FD7-E4B3-4AC7-B077-2E1A3B44D08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98" y="1612113"/>
            <a:ext cx="1189264" cy="115987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C60299D-10F6-498B-850C-4AA7AF7CA4C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brightnessContrast bright="13000" contras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9984" y="1756416"/>
            <a:ext cx="404564" cy="404564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FA7FB1E3-80F9-4F86-B107-4A751076BF2A}"/>
              </a:ext>
            </a:extLst>
          </p:cNvPr>
          <p:cNvGrpSpPr/>
          <p:nvPr/>
        </p:nvGrpSpPr>
        <p:grpSpPr>
          <a:xfrm>
            <a:off x="8550832" y="1529455"/>
            <a:ext cx="2192561" cy="1434883"/>
            <a:chOff x="8551955" y="1415247"/>
            <a:chExt cx="2192561" cy="143488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DAB84CD-A0FD-444D-9705-EA93F5A7C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551955" y="1765374"/>
              <a:ext cx="2192561" cy="1084756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D9BBB5CE-1DE9-4CEA-825B-F4B2F434C1BF}"/>
                </a:ext>
              </a:extLst>
            </p:cNvPr>
            <p:cNvSpPr txBox="1"/>
            <p:nvPr/>
          </p:nvSpPr>
          <p:spPr>
            <a:xfrm>
              <a:off x="9472200" y="1415247"/>
              <a:ext cx="10866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12F3F"/>
                  </a:solidFill>
                  <a:effectLst/>
                  <a:uLnTx/>
                  <a:uFillTx/>
                  <a:ea typeface="+mn-ea"/>
                  <a:cs typeface="+mn-cs"/>
                </a:rPr>
                <a:t>P75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387CA432-734D-46A4-BDDD-6C01CD3C1F6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15518" y="1784579"/>
              <a:ext cx="0" cy="521102"/>
            </a:xfrm>
            <a:prstGeom prst="line">
              <a:avLst/>
            </a:prstGeom>
            <a:noFill/>
            <a:ln w="28575" cap="flat" cmpd="sng" algn="ctr">
              <a:solidFill>
                <a:srgbClr val="4472C4"/>
              </a:solidFill>
              <a:prstDash val="sysDot"/>
              <a:miter lim="800000"/>
              <a:headEnd type="triangle" w="med" len="med"/>
              <a:tailEnd type="none" w="med" len="med"/>
            </a:ln>
            <a:effectLst/>
          </p:spPr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AFCDDDC7-8DFC-414E-9D1B-78E7D2012A2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6221" y="1907147"/>
            <a:ext cx="572347" cy="569803"/>
          </a:xfrm>
          <a:prstGeom prst="rect">
            <a:avLst/>
          </a:prstGeom>
          <a:solidFill>
            <a:srgbClr val="B0B0B0"/>
          </a:solidFill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1A92CA5-1B43-45F3-8022-6A65A449020A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3844" y="1906727"/>
            <a:ext cx="573190" cy="570642"/>
          </a:xfrm>
          <a:prstGeom prst="rect">
            <a:avLst/>
          </a:prstGeom>
          <a:solidFill>
            <a:srgbClr val="B0B0B0"/>
          </a:solidFill>
        </p:spPr>
      </p:pic>
      <p:sp>
        <p:nvSpPr>
          <p:cNvPr id="17" name="Isosceles Triangle 16">
            <a:extLst>
              <a:ext uri="{FF2B5EF4-FFF2-40B4-BE49-F238E27FC236}">
                <a16:creationId xmlns:a16="http://schemas.microsoft.com/office/drawing/2014/main" id="{CACCC8BE-BF63-49FA-9C46-BA5A02AF9D4C}"/>
              </a:ext>
            </a:extLst>
          </p:cNvPr>
          <p:cNvSpPr/>
          <p:nvPr/>
        </p:nvSpPr>
        <p:spPr>
          <a:xfrm rot="5400000">
            <a:off x="7728103" y="2164514"/>
            <a:ext cx="842014" cy="206296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DCB8B9-51D5-4240-9F04-FA5275D422AA}"/>
              </a:ext>
            </a:extLst>
          </p:cNvPr>
          <p:cNvSpPr txBox="1"/>
          <p:nvPr/>
        </p:nvSpPr>
        <p:spPr>
          <a:xfrm>
            <a:off x="2877661" y="3443899"/>
            <a:ext cx="2340000" cy="16440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Bias for action 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Performance management 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Ownership of OE by line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ncentive system 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Span of contro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1FED7CA-D688-4AB3-B729-F95EC4C311D1}"/>
              </a:ext>
            </a:extLst>
          </p:cNvPr>
          <p:cNvCxnSpPr>
            <a:cxnSpLocks/>
          </p:cNvCxnSpPr>
          <p:nvPr/>
        </p:nvCxnSpPr>
        <p:spPr>
          <a:xfrm flipV="1">
            <a:off x="6801452" y="2810659"/>
            <a:ext cx="0" cy="578336"/>
          </a:xfrm>
          <a:prstGeom prst="line">
            <a:avLst/>
          </a:prstGeom>
          <a:ln w="31750" cap="rnd">
            <a:solidFill>
              <a:srgbClr val="A5CF4C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9527C554-235F-4B9C-AF8F-76FE720D9A5B}"/>
              </a:ext>
            </a:extLst>
          </p:cNvPr>
          <p:cNvSpPr txBox="1"/>
          <p:nvPr/>
        </p:nvSpPr>
        <p:spPr>
          <a:xfrm>
            <a:off x="477414" y="3494100"/>
            <a:ext cx="2340000" cy="18553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Constraint focused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Cost Reduction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Productivity Improvement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Risk Mitigation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Yield/Product Optimisation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CB31D98-0EC3-4E68-9CEA-E9447955D2C9}"/>
              </a:ext>
            </a:extLst>
          </p:cNvPr>
          <p:cNvCxnSpPr>
            <a:cxnSpLocks/>
          </p:cNvCxnSpPr>
          <p:nvPr/>
        </p:nvCxnSpPr>
        <p:spPr>
          <a:xfrm flipV="1">
            <a:off x="1187887" y="2810659"/>
            <a:ext cx="0" cy="541930"/>
          </a:xfrm>
          <a:prstGeom prst="line">
            <a:avLst/>
          </a:prstGeom>
          <a:ln w="31750" cap="rnd">
            <a:solidFill>
              <a:srgbClr val="A5CF4C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5B66F43-CC27-4D5F-8E3F-D62ECAA5D5B0}"/>
              </a:ext>
            </a:extLst>
          </p:cNvPr>
          <p:cNvSpPr txBox="1"/>
          <p:nvPr/>
        </p:nvSpPr>
        <p:spPr>
          <a:xfrm>
            <a:off x="5407620" y="3443899"/>
            <a:ext cx="2916000" cy="16440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VCV through IoC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M2R Optimisation through ME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Empowered Workforce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Developing our D@E Core Competencies</a:t>
            </a:r>
          </a:p>
          <a:p>
            <a:pPr marL="180975" marR="0" lvl="0" indent="-180975" algn="l" defTabSz="371475" rtl="0" eaLnBrk="1" fontAlgn="auto" latinLnBrk="0" hangingPunct="1"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Resource &amp; Mining Innovation Magne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74A2C33-B965-4A5D-980C-1F023A2DC756}"/>
              </a:ext>
            </a:extLst>
          </p:cNvPr>
          <p:cNvCxnSpPr>
            <a:cxnSpLocks/>
          </p:cNvCxnSpPr>
          <p:nvPr/>
        </p:nvCxnSpPr>
        <p:spPr>
          <a:xfrm flipV="1">
            <a:off x="3937225" y="2802829"/>
            <a:ext cx="0" cy="581471"/>
          </a:xfrm>
          <a:prstGeom prst="line">
            <a:avLst/>
          </a:prstGeom>
          <a:ln w="31750" cap="rnd">
            <a:solidFill>
              <a:srgbClr val="A5CF4C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6CC8DA1F-E12D-4348-AD87-CB7B83C7182D}"/>
              </a:ext>
            </a:extLst>
          </p:cNvPr>
          <p:cNvSpPr txBox="1"/>
          <p:nvPr/>
        </p:nvSpPr>
        <p:spPr>
          <a:xfrm>
            <a:off x="8501578" y="3494100"/>
            <a:ext cx="237226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78606" marR="0" lvl="0" indent="-278606" defTabSz="371475" fontAlgn="auto"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+mj-lt"/>
              <a:buAutoNum type="arabicPeriod"/>
              <a:tabLst/>
              <a:defRPr kumimoji="0" sz="11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marL="180975" indent="-180975">
              <a:spcAft>
                <a:spcPts val="300"/>
              </a:spcAft>
              <a:buClrTx/>
            </a:pPr>
            <a:r>
              <a:rPr lang="en-ZA" sz="1400" dirty="0">
                <a:solidFill>
                  <a:schemeClr val="tx1"/>
                </a:solidFill>
              </a:rPr>
              <a:t>Performance Benchmarking</a:t>
            </a:r>
          </a:p>
          <a:p>
            <a:pPr marL="180975" indent="-180975">
              <a:spcAft>
                <a:spcPts val="300"/>
              </a:spcAft>
              <a:buClrTx/>
            </a:pPr>
            <a:r>
              <a:rPr lang="en-ZA" sz="1400" dirty="0">
                <a:solidFill>
                  <a:schemeClr val="tx1"/>
                </a:solidFill>
              </a:rPr>
              <a:t>Reducing variation</a:t>
            </a:r>
          </a:p>
          <a:p>
            <a:pPr marL="180975" indent="-180975">
              <a:spcAft>
                <a:spcPts val="300"/>
              </a:spcAft>
              <a:buClrTx/>
            </a:pPr>
            <a:r>
              <a:rPr lang="en-ZA" sz="1400" dirty="0">
                <a:solidFill>
                  <a:schemeClr val="tx1"/>
                </a:solidFill>
              </a:rPr>
              <a:t>Increasing consistency</a:t>
            </a:r>
          </a:p>
          <a:p>
            <a:pPr marL="180975" indent="-180975">
              <a:spcAft>
                <a:spcPts val="300"/>
              </a:spcAft>
              <a:buClrTx/>
            </a:pPr>
            <a:r>
              <a:rPr lang="en-ZA" sz="1400" dirty="0">
                <a:solidFill>
                  <a:schemeClr val="tx1"/>
                </a:solidFill>
              </a:rPr>
              <a:t>Review of P75 Targets Yearly</a:t>
            </a:r>
          </a:p>
          <a:p>
            <a:pPr marL="180975" indent="-180975">
              <a:spcAft>
                <a:spcPts val="300"/>
              </a:spcAft>
              <a:buClrTx/>
            </a:pPr>
            <a:r>
              <a:rPr lang="en-ZA" sz="1400" dirty="0">
                <a:solidFill>
                  <a:schemeClr val="tx1"/>
                </a:solidFill>
              </a:rPr>
              <a:t>Achieving 2023 Strategy</a:t>
            </a:r>
            <a:endParaRPr lang="en-ZA" dirty="0">
              <a:solidFill>
                <a:schemeClr val="tx1"/>
              </a:solidFill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B42589B-4A52-4428-909C-E8927E4EC7BF}"/>
              </a:ext>
            </a:extLst>
          </p:cNvPr>
          <p:cNvCxnSpPr>
            <a:cxnSpLocks/>
          </p:cNvCxnSpPr>
          <p:nvPr/>
        </p:nvCxnSpPr>
        <p:spPr>
          <a:xfrm flipV="1">
            <a:off x="9647112" y="3105147"/>
            <a:ext cx="0" cy="349412"/>
          </a:xfrm>
          <a:prstGeom prst="line">
            <a:avLst/>
          </a:prstGeom>
          <a:ln w="31750" cap="rnd">
            <a:solidFill>
              <a:srgbClr val="212F3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33AE95F6-C56E-43ED-B9B7-9B57C75B66E0}"/>
              </a:ext>
            </a:extLst>
          </p:cNvPr>
          <p:cNvSpPr/>
          <p:nvPr/>
        </p:nvSpPr>
        <p:spPr>
          <a:xfrm>
            <a:off x="8529435" y="3459614"/>
            <a:ext cx="2316551" cy="1811922"/>
          </a:xfrm>
          <a:prstGeom prst="rect">
            <a:avLst/>
          </a:prstGeom>
          <a:noFill/>
          <a:ln w="12700">
            <a:solidFill>
              <a:srgbClr val="212F3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14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6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28A81B6-ACC3-46A4-9394-1D5C23F173B4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6200000">
            <a:off x="10181454" y="3790788"/>
            <a:ext cx="2468935" cy="712807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6B8A7E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/>
              </a:rPr>
              <a:t>Productivity Improvemen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6B8A7E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/>
              </a:rPr>
              <a:t>Cost Reduc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6B8A7E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/>
              </a:rPr>
              <a:t>Safety Always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6AA5DBA6-D1D7-4EBB-B632-EF3961DB7A3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duotone>
              <a:srgbClr val="0E896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5905" y="1789575"/>
            <a:ext cx="942251" cy="95617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907A4E69-0CB7-4F36-9A9D-8165FE485D62}"/>
              </a:ext>
            </a:extLst>
          </p:cNvPr>
          <p:cNvGrpSpPr/>
          <p:nvPr/>
        </p:nvGrpSpPr>
        <p:grpSpPr>
          <a:xfrm>
            <a:off x="3055219" y="1839499"/>
            <a:ext cx="1764012" cy="705098"/>
            <a:chOff x="3055219" y="1649074"/>
            <a:chExt cx="1764012" cy="705098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7E548D40-B40C-4AB0-8EC8-A284E604C894}"/>
                </a:ext>
              </a:extLst>
            </p:cNvPr>
            <p:cNvCxnSpPr>
              <a:cxnSpLocks/>
            </p:cNvCxnSpPr>
            <p:nvPr/>
          </p:nvCxnSpPr>
          <p:spPr>
            <a:xfrm>
              <a:off x="3055219" y="1875260"/>
              <a:ext cx="1764012" cy="0"/>
            </a:xfrm>
            <a:prstGeom prst="straightConnector1">
              <a:avLst/>
            </a:prstGeom>
            <a:ln>
              <a:solidFill>
                <a:srgbClr val="745E4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EB65866-0687-416F-A12F-8D03413F05F4}"/>
                </a:ext>
              </a:extLst>
            </p:cNvPr>
            <p:cNvSpPr txBox="1"/>
            <p:nvPr/>
          </p:nvSpPr>
          <p:spPr>
            <a:xfrm>
              <a:off x="3432135" y="1649074"/>
              <a:ext cx="1010181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u="none" strike="noStrike" kern="1200" cap="none" spc="0" normalizeH="0" baseline="0" noProof="0" dirty="0">
                  <a:ln>
                    <a:noFill/>
                  </a:ln>
                  <a:solidFill>
                    <a:srgbClr val="A5CF4C">
                      <a:lumMod val="60000"/>
                      <a:lumOff val="40000"/>
                    </a:srgbClr>
                  </a:solidFill>
                  <a:effectLst/>
                  <a:uLnTx/>
                  <a:uFillTx/>
                  <a:ea typeface="+mn-ea"/>
                  <a:cs typeface="+mn-cs"/>
                </a:rPr>
                <a:t>Lean</a:t>
              </a:r>
              <a:r>
                <a:rPr kumimoji="0" lang="en-US" sz="2000" b="1" u="none" strike="noStrike" kern="1200" cap="none" spc="0" normalizeH="0" baseline="0" noProof="0" dirty="0">
                  <a:ln>
                    <a:noFill/>
                  </a:ln>
                  <a:solidFill>
                    <a:srgbClr val="745E4C"/>
                  </a:solidFill>
                  <a:effectLst/>
                  <a:uLnTx/>
                  <a:uFillTx/>
                  <a:ea typeface="+mn-ea"/>
                  <a:cs typeface="+mn-cs"/>
                </a:rPr>
                <a:t>5</a:t>
              </a: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4BEA38C-17BA-47B8-8E8A-D53F52D123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00330" y="2049184"/>
              <a:ext cx="1673791" cy="304988"/>
            </a:xfrm>
            <a:prstGeom prst="rect">
              <a:avLst/>
            </a:prstGeom>
            <a:ln w="12700">
              <a:solidFill>
                <a:schemeClr val="accent3">
                  <a:lumMod val="50000"/>
                </a:schemeClr>
              </a:solidFill>
            </a:ln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9983CFF-23C4-4D61-A2FE-78E7CE2D0A2B}"/>
              </a:ext>
            </a:extLst>
          </p:cNvPr>
          <p:cNvSpPr txBox="1"/>
          <p:nvPr/>
        </p:nvSpPr>
        <p:spPr>
          <a:xfrm>
            <a:off x="788475" y="2683653"/>
            <a:ext cx="3549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3A2B26"/>
                </a:solidFill>
                <a:effectLst/>
                <a:uLnTx/>
                <a:uFillTx/>
                <a:ea typeface="+mn-ea"/>
                <a:cs typeface="+mn-cs"/>
              </a:rPr>
              <a:t>Operational Excellence</a:t>
            </a:r>
          </a:p>
        </p:txBody>
      </p:sp>
    </p:spTree>
    <p:extLst>
      <p:ext uri="{BB962C8B-B14F-4D97-AF65-F5344CB8AC3E}">
        <p14:creationId xmlns:p14="http://schemas.microsoft.com/office/powerpoint/2010/main" val="341014658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Slide Number Placeholder 50">
            <a:extLst>
              <a:ext uri="{FF2B5EF4-FFF2-40B4-BE49-F238E27FC236}">
                <a16:creationId xmlns:a16="http://schemas.microsoft.com/office/drawing/2014/main" id="{81A061CB-277D-4A3D-9603-59C7892B3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93917" y="6339199"/>
            <a:ext cx="2743200" cy="365125"/>
          </a:xfrm>
        </p:spPr>
        <p:txBody>
          <a:bodyPr/>
          <a:lstStyle/>
          <a:p>
            <a:fld id="{D13DE82C-19FF-4122-931F-2BD77445347C}" type="slidenum">
              <a:rPr lang="en-US" smtClean="0"/>
              <a:t>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4FF1720-E565-45A5-8A88-5EAF03059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0" dirty="0"/>
              <a:t>Where to start </a:t>
            </a:r>
            <a:r>
              <a:rPr lang="en-US" b="0" dirty="0"/>
              <a:t>| </a:t>
            </a:r>
            <a:r>
              <a:rPr lang="en-US" dirty="0"/>
              <a:t>Progress to Date	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09149AE-915F-48E4-86EE-A01BE95D30CF}"/>
              </a:ext>
            </a:extLst>
          </p:cNvPr>
          <p:cNvCxnSpPr>
            <a:cxnSpLocks/>
          </p:cNvCxnSpPr>
          <p:nvPr/>
        </p:nvCxnSpPr>
        <p:spPr>
          <a:xfrm>
            <a:off x="1586249" y="3630287"/>
            <a:ext cx="8299383" cy="0"/>
          </a:xfrm>
          <a:prstGeom prst="line">
            <a:avLst/>
          </a:prstGeom>
          <a:ln w="28575">
            <a:solidFill>
              <a:srgbClr val="5FA0B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0D898E9-851C-41B4-9092-5BA853137722}"/>
              </a:ext>
            </a:extLst>
          </p:cNvPr>
          <p:cNvSpPr/>
          <p:nvPr/>
        </p:nvSpPr>
        <p:spPr>
          <a:xfrm>
            <a:off x="8132366" y="1782976"/>
            <a:ext cx="2503064" cy="1384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srgbClr val="A5CF4C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EMBED</a:t>
            </a: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srgbClr val="8FD400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AND </a:t>
            </a:r>
          </a:p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srgbClr val="A5CF4C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MPROV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8FA20EF-94F0-40D4-8C38-DAACC400389A}"/>
              </a:ext>
            </a:extLst>
          </p:cNvPr>
          <p:cNvSpPr/>
          <p:nvPr/>
        </p:nvSpPr>
        <p:spPr>
          <a:xfrm>
            <a:off x="7883271" y="3655593"/>
            <a:ext cx="2669532" cy="2480855"/>
          </a:xfrm>
          <a:prstGeom prst="rect">
            <a:avLst/>
          </a:prstGeom>
          <a:solidFill>
            <a:srgbClr val="5FA0B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73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D5D9254-DA3C-48D4-A7D1-4BA2FA642F85}"/>
              </a:ext>
            </a:extLst>
          </p:cNvPr>
          <p:cNvSpPr/>
          <p:nvPr/>
        </p:nvSpPr>
        <p:spPr>
          <a:xfrm>
            <a:off x="5111422" y="1451037"/>
            <a:ext cx="2779240" cy="2207153"/>
          </a:xfrm>
          <a:prstGeom prst="rect">
            <a:avLst/>
          </a:prstGeom>
          <a:solidFill>
            <a:srgbClr val="6B8A7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73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C58AF21-B346-4C76-BEA5-62E887BA9E55}"/>
              </a:ext>
            </a:extLst>
          </p:cNvPr>
          <p:cNvSpPr/>
          <p:nvPr/>
        </p:nvSpPr>
        <p:spPr>
          <a:xfrm>
            <a:off x="5368319" y="2029505"/>
            <a:ext cx="2267660" cy="4095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742801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Visualisation of the Value Chai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9A95CED-292F-41D3-A386-E9D051FA32FB}"/>
              </a:ext>
            </a:extLst>
          </p:cNvPr>
          <p:cNvSpPr/>
          <p:nvPr/>
        </p:nvSpPr>
        <p:spPr>
          <a:xfrm>
            <a:off x="8058525" y="5747302"/>
            <a:ext cx="2286677" cy="4095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742801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Automati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1FE7E7-9BE7-4929-BF17-A66A6E060465}"/>
              </a:ext>
            </a:extLst>
          </p:cNvPr>
          <p:cNvSpPr/>
          <p:nvPr/>
        </p:nvSpPr>
        <p:spPr>
          <a:xfrm>
            <a:off x="7972799" y="4229515"/>
            <a:ext cx="2468633" cy="4095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742801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Predictive Maintenance and Reliability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3A9614D-E413-4D2C-B81C-FFE745E42999}"/>
              </a:ext>
            </a:extLst>
          </p:cNvPr>
          <p:cNvGrpSpPr/>
          <p:nvPr/>
        </p:nvGrpSpPr>
        <p:grpSpPr>
          <a:xfrm>
            <a:off x="6285082" y="2551921"/>
            <a:ext cx="433801" cy="409540"/>
            <a:chOff x="1150683" y="3848481"/>
            <a:chExt cx="883481" cy="1139415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CB06C023-C2A1-42E3-A582-62E5359C2F33}"/>
                </a:ext>
              </a:extLst>
            </p:cNvPr>
            <p:cNvSpPr/>
            <p:nvPr/>
          </p:nvSpPr>
          <p:spPr>
            <a:xfrm>
              <a:off x="1150683" y="3848481"/>
              <a:ext cx="883481" cy="113941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none" w="med" len="med"/>
            </a:ln>
            <a:effectLst/>
          </p:spPr>
          <p:txBody>
            <a:bodyPr lIns="0" tIns="37136" rIns="0" bIns="37136" rtlCol="0" anchor="ctr"/>
            <a:lstStyle/>
            <a:p>
              <a:pPr marL="0" marR="0" lvl="0" indent="0" algn="ctr" defTabSz="7428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Roboto Light" panose="020000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31" name="Picture 25">
              <a:extLst>
                <a:ext uri="{FF2B5EF4-FFF2-40B4-BE49-F238E27FC236}">
                  <a16:creationId xmlns:a16="http://schemas.microsoft.com/office/drawing/2014/main" id="{9F0BF5C0-33F2-4B32-9481-672C94CB88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6349" y="4063572"/>
              <a:ext cx="632148" cy="8247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0F2B4A8-E207-4057-B7A2-208889CF2E0D}"/>
              </a:ext>
            </a:extLst>
          </p:cNvPr>
          <p:cNvGrpSpPr/>
          <p:nvPr/>
        </p:nvGrpSpPr>
        <p:grpSpPr>
          <a:xfrm>
            <a:off x="8990401" y="5378439"/>
            <a:ext cx="422920" cy="409540"/>
            <a:chOff x="1328885" y="3363469"/>
            <a:chExt cx="830964" cy="113759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6174B4C5-B29C-4FCF-B736-540DF930A231}"/>
                </a:ext>
              </a:extLst>
            </p:cNvPr>
            <p:cNvSpPr/>
            <p:nvPr/>
          </p:nvSpPr>
          <p:spPr>
            <a:xfrm>
              <a:off x="1328885" y="3363469"/>
              <a:ext cx="830964" cy="1137590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none" w="med" len="med"/>
            </a:ln>
            <a:effectLst/>
          </p:spPr>
          <p:txBody>
            <a:bodyPr lIns="0" tIns="37136" rIns="0" bIns="37136" rtlCol="0" anchor="ctr"/>
            <a:lstStyle/>
            <a:p>
              <a:pPr marL="0" marR="0" lvl="0" indent="0" algn="ctr" defTabSz="7428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Roboto Light" panose="020000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29" name="Picture 7">
              <a:extLst>
                <a:ext uri="{FF2B5EF4-FFF2-40B4-BE49-F238E27FC236}">
                  <a16:creationId xmlns:a16="http://schemas.microsoft.com/office/drawing/2014/main" id="{684C6001-EE9F-4D42-B598-C048E62597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4142" y="3583579"/>
              <a:ext cx="600457" cy="8153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83514D1E-0D7D-4010-BB98-E697140CB878}"/>
              </a:ext>
            </a:extLst>
          </p:cNvPr>
          <p:cNvSpPr/>
          <p:nvPr/>
        </p:nvSpPr>
        <p:spPr>
          <a:xfrm>
            <a:off x="5358644" y="3033004"/>
            <a:ext cx="2286677" cy="4095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742801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Integrated Operations Centr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1AA4023-CAC7-4AFE-B0E7-FD8F3D2C96A6}"/>
              </a:ext>
            </a:extLst>
          </p:cNvPr>
          <p:cNvSpPr/>
          <p:nvPr/>
        </p:nvSpPr>
        <p:spPr>
          <a:xfrm>
            <a:off x="8064409" y="5003000"/>
            <a:ext cx="2286677" cy="40954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742801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MRM Integration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9985257-5909-45A6-985C-FEBF4FBADB35}"/>
              </a:ext>
            </a:extLst>
          </p:cNvPr>
          <p:cNvGrpSpPr/>
          <p:nvPr/>
        </p:nvGrpSpPr>
        <p:grpSpPr>
          <a:xfrm>
            <a:off x="6291379" y="1546841"/>
            <a:ext cx="421541" cy="394634"/>
            <a:chOff x="1163506" y="3275924"/>
            <a:chExt cx="858510" cy="1097945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CFB6A54C-DE5F-46C6-95AE-420620A45B9E}"/>
                </a:ext>
              </a:extLst>
            </p:cNvPr>
            <p:cNvSpPr/>
            <p:nvPr/>
          </p:nvSpPr>
          <p:spPr>
            <a:xfrm>
              <a:off x="1163506" y="3275924"/>
              <a:ext cx="858510" cy="109794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none" w="med" len="med"/>
            </a:ln>
            <a:effectLst/>
          </p:spPr>
          <p:txBody>
            <a:bodyPr lIns="0" tIns="37136" rIns="0" bIns="37136" rtlCol="0" anchor="ctr"/>
            <a:lstStyle/>
            <a:p>
              <a:pPr marL="0" marR="0" lvl="0" indent="0" algn="ctr" defTabSz="7428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Roboto Light" panose="020000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27" name="Picture 25">
              <a:extLst>
                <a:ext uri="{FF2B5EF4-FFF2-40B4-BE49-F238E27FC236}">
                  <a16:creationId xmlns:a16="http://schemas.microsoft.com/office/drawing/2014/main" id="{D9CD79E1-593B-4849-8F38-496F5AB6BAA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5620" y="3479566"/>
              <a:ext cx="614279" cy="7947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AB704DC-9FD8-4645-86FE-AF696372D44A}"/>
              </a:ext>
            </a:extLst>
          </p:cNvPr>
          <p:cNvGrpSpPr/>
          <p:nvPr/>
        </p:nvGrpSpPr>
        <p:grpSpPr>
          <a:xfrm>
            <a:off x="8992199" y="3789081"/>
            <a:ext cx="429833" cy="409911"/>
            <a:chOff x="1610541" y="2905526"/>
            <a:chExt cx="829071" cy="1107863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C8647A8-07BF-4C94-B289-06B4976ED111}"/>
                </a:ext>
              </a:extLst>
            </p:cNvPr>
            <p:cNvSpPr/>
            <p:nvPr/>
          </p:nvSpPr>
          <p:spPr>
            <a:xfrm>
              <a:off x="1610541" y="2905526"/>
              <a:ext cx="829071" cy="1107863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none" w="med" len="med"/>
            </a:ln>
            <a:effectLst/>
          </p:spPr>
          <p:txBody>
            <a:bodyPr lIns="0" tIns="37136" rIns="0" bIns="37136" rtlCol="0" anchor="ctr"/>
            <a:lstStyle/>
            <a:p>
              <a:pPr marL="0" marR="0" lvl="0" indent="0" algn="ctr" defTabSz="7428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Roboto Light" panose="020000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25" name="Picture 25">
              <a:extLst>
                <a:ext uri="{FF2B5EF4-FFF2-40B4-BE49-F238E27FC236}">
                  <a16:creationId xmlns:a16="http://schemas.microsoft.com/office/drawing/2014/main" id="{CBF79DF4-2B09-45F7-B72E-68D70E9722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8473" y="3117214"/>
              <a:ext cx="593213" cy="7940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8EE3006-C45A-472F-9371-C3387CD6844F}"/>
              </a:ext>
            </a:extLst>
          </p:cNvPr>
          <p:cNvGrpSpPr/>
          <p:nvPr/>
        </p:nvGrpSpPr>
        <p:grpSpPr>
          <a:xfrm>
            <a:off x="8999038" y="4669257"/>
            <a:ext cx="417421" cy="404412"/>
            <a:chOff x="1654908" y="2858026"/>
            <a:chExt cx="805132" cy="1093001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3D28D981-997B-4F53-891E-D9C9B87EF696}"/>
                </a:ext>
              </a:extLst>
            </p:cNvPr>
            <p:cNvSpPr/>
            <p:nvPr/>
          </p:nvSpPr>
          <p:spPr>
            <a:xfrm>
              <a:off x="1654908" y="2858026"/>
              <a:ext cx="805132" cy="1093001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  <a:tailEnd type="none" w="med" len="med"/>
            </a:ln>
            <a:effectLst/>
          </p:spPr>
          <p:txBody>
            <a:bodyPr lIns="0" tIns="37136" rIns="0" bIns="37136" rtlCol="0" anchor="ctr"/>
            <a:lstStyle/>
            <a:p>
              <a:pPr marL="0" marR="0" lvl="0" indent="0" algn="ctr" defTabSz="74280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Roboto Light" panose="02000000000000000000" pitchFamily="2" charset="0"/>
                <a:cs typeface="Arial" panose="020B0604020202020204" pitchFamily="34" charset="0"/>
              </a:endParaRPr>
            </a:p>
          </p:txBody>
        </p:sp>
        <p:pic>
          <p:nvPicPr>
            <p:cNvPr id="23" name="Picture 25">
              <a:extLst>
                <a:ext uri="{FF2B5EF4-FFF2-40B4-BE49-F238E27FC236}">
                  <a16:creationId xmlns:a16="http://schemas.microsoft.com/office/drawing/2014/main" id="{CDBD80AE-3059-46CC-AE5C-6D7510FA62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9434" y="3065498"/>
              <a:ext cx="576088" cy="7833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1" name="Right Triangle 20">
            <a:extLst>
              <a:ext uri="{FF2B5EF4-FFF2-40B4-BE49-F238E27FC236}">
                <a16:creationId xmlns:a16="http://schemas.microsoft.com/office/drawing/2014/main" id="{E692EC57-9515-413E-8586-3DB5D0102B98}"/>
              </a:ext>
            </a:extLst>
          </p:cNvPr>
          <p:cNvSpPr/>
          <p:nvPr/>
        </p:nvSpPr>
        <p:spPr>
          <a:xfrm rot="10800000">
            <a:off x="5098054" y="3655593"/>
            <a:ext cx="2790210" cy="2482082"/>
          </a:xfrm>
          <a:prstGeom prst="rtTriangle">
            <a:avLst/>
          </a:prstGeom>
          <a:gradFill>
            <a:gsLst>
              <a:gs pos="0">
                <a:srgbClr val="5FA0BB"/>
              </a:gs>
              <a:gs pos="100000">
                <a:srgbClr val="6B8A7E"/>
              </a:gs>
            </a:gsLst>
            <a:lin ang="5400000" scaled="1"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73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AA92EA5-D2F1-4BF4-A393-CB59C46F3C88}"/>
              </a:ext>
            </a:extLst>
          </p:cNvPr>
          <p:cNvSpPr/>
          <p:nvPr/>
        </p:nvSpPr>
        <p:spPr>
          <a:xfrm>
            <a:off x="5851412" y="4306302"/>
            <a:ext cx="2246081" cy="40954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742801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b="1" i="0" u="none" strike="noStrike" kern="0" cap="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Verdana" panose="020B0604030504040204" pitchFamily="34" charset="0"/>
                <a:cs typeface="Arial" panose="020B0604020202020204" pitchFamily="34" charset="0"/>
              </a:rPr>
              <a:t>Data scienc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521A3F1-A307-4641-A014-525A12433C7F}"/>
              </a:ext>
            </a:extLst>
          </p:cNvPr>
          <p:cNvSpPr/>
          <p:nvPr/>
        </p:nvSpPr>
        <p:spPr>
          <a:xfrm>
            <a:off x="6722409" y="3814923"/>
            <a:ext cx="504086" cy="465298"/>
          </a:xfrm>
          <a:prstGeom prst="ellipse">
            <a:avLst/>
          </a:prstGeom>
          <a:noFill/>
          <a:ln w="12700" cap="flat" cmpd="sng" algn="ctr">
            <a:solidFill>
              <a:srgbClr val="FFFFFF"/>
            </a:solidFill>
            <a:prstDash val="solid"/>
            <a:tailEnd type="none" w="med" len="med"/>
          </a:ln>
          <a:effectLst/>
        </p:spPr>
        <p:txBody>
          <a:bodyPr lIns="0" tIns="37136" rIns="0" bIns="37136" rtlCol="0" anchor="ctr"/>
          <a:lstStyle/>
          <a:p>
            <a:pPr marL="0" marR="0" lvl="0" indent="0" algn="ctr" defTabSz="7428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74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Roboto Light" panose="02000000000000000000" pitchFamily="2" charset="0"/>
              <a:cs typeface="+mn-cs"/>
            </a:endParaRPr>
          </a:p>
        </p:txBody>
      </p:sp>
      <p:pic>
        <p:nvPicPr>
          <p:cNvPr id="34" name="Picture 25">
            <a:extLst>
              <a:ext uri="{FF2B5EF4-FFF2-40B4-BE49-F238E27FC236}">
                <a16:creationId xmlns:a16="http://schemas.microsoft.com/office/drawing/2014/main" id="{D23AEEE1-5E3C-4D47-ADCC-927D88BA89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94112" y="3897551"/>
            <a:ext cx="360681" cy="3334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89877F00-D70F-4DD4-B683-CEC2334093E2}"/>
              </a:ext>
            </a:extLst>
          </p:cNvPr>
          <p:cNvSpPr/>
          <p:nvPr/>
        </p:nvSpPr>
        <p:spPr>
          <a:xfrm>
            <a:off x="4929095" y="1317339"/>
            <a:ext cx="3128123" cy="2316269"/>
          </a:xfrm>
          <a:prstGeom prst="rect">
            <a:avLst/>
          </a:prstGeom>
          <a:noFill/>
          <a:ln w="38100">
            <a:solidFill>
              <a:srgbClr val="8FD4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72AF57A-7FF4-4BC7-AEFF-1A6AAD82EAAC}"/>
              </a:ext>
            </a:extLst>
          </p:cNvPr>
          <p:cNvSpPr/>
          <p:nvPr/>
        </p:nvSpPr>
        <p:spPr>
          <a:xfrm>
            <a:off x="2341056" y="2550824"/>
            <a:ext cx="25030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i="0" u="none" strike="noStrike" kern="0" cap="none" spc="0" normalizeH="0" baseline="0" noProof="0" dirty="0">
                <a:ln>
                  <a:noFill/>
                </a:ln>
                <a:solidFill>
                  <a:srgbClr val="A5CF4C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Achieved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88988A1-0DC9-4883-A768-31BA2D9BBB75}"/>
              </a:ext>
            </a:extLst>
          </p:cNvPr>
          <p:cNvSpPr/>
          <p:nvPr/>
        </p:nvSpPr>
        <p:spPr>
          <a:xfrm>
            <a:off x="2341056" y="5086051"/>
            <a:ext cx="25030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7429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i="0" u="none" strike="noStrike" kern="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+mj-lt"/>
                <a:ea typeface="Verdana" panose="020B0604030504040204" pitchFamily="34" charset="0"/>
                <a:cs typeface="Arial" panose="020B0604020202020204" pitchFamily="34" charset="0"/>
              </a:rPr>
              <a:t>Focus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EAA31D7-C8C9-44C3-9D6C-5CD062BD141A}"/>
              </a:ext>
            </a:extLst>
          </p:cNvPr>
          <p:cNvGrpSpPr/>
          <p:nvPr/>
        </p:nvGrpSpPr>
        <p:grpSpPr>
          <a:xfrm>
            <a:off x="3162930" y="1514468"/>
            <a:ext cx="859315" cy="848232"/>
            <a:chOff x="2147888" y="6303963"/>
            <a:chExt cx="1600200" cy="1579562"/>
          </a:xfrm>
          <a:solidFill>
            <a:srgbClr val="A5CF4C"/>
          </a:solidFill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008EF6D6-D574-4854-B108-D49C2122AF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1350" y="6777038"/>
              <a:ext cx="261938" cy="263525"/>
            </a:xfrm>
            <a:custGeom>
              <a:avLst/>
              <a:gdLst>
                <a:gd name="T0" fmla="*/ 199 w 399"/>
                <a:gd name="T1" fmla="*/ 399 h 399"/>
                <a:gd name="T2" fmla="*/ 0 w 399"/>
                <a:gd name="T3" fmla="*/ 200 h 399"/>
                <a:gd name="T4" fmla="*/ 199 w 399"/>
                <a:gd name="T5" fmla="*/ 0 h 399"/>
                <a:gd name="T6" fmla="*/ 399 w 399"/>
                <a:gd name="T7" fmla="*/ 200 h 399"/>
                <a:gd name="T8" fmla="*/ 199 w 399"/>
                <a:gd name="T9" fmla="*/ 399 h 399"/>
                <a:gd name="T10" fmla="*/ 199 w 399"/>
                <a:gd name="T11" fmla="*/ 80 h 399"/>
                <a:gd name="T12" fmla="*/ 80 w 399"/>
                <a:gd name="T13" fmla="*/ 200 h 399"/>
                <a:gd name="T14" fmla="*/ 199 w 399"/>
                <a:gd name="T15" fmla="*/ 319 h 399"/>
                <a:gd name="T16" fmla="*/ 319 w 399"/>
                <a:gd name="T17" fmla="*/ 200 h 399"/>
                <a:gd name="T18" fmla="*/ 199 w 399"/>
                <a:gd name="T19" fmla="*/ 8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9" h="399">
                  <a:moveTo>
                    <a:pt x="199" y="399"/>
                  </a:moveTo>
                  <a:cubicBezTo>
                    <a:pt x="89" y="399"/>
                    <a:pt x="0" y="310"/>
                    <a:pt x="0" y="200"/>
                  </a:cubicBezTo>
                  <a:cubicBezTo>
                    <a:pt x="0" y="90"/>
                    <a:pt x="89" y="0"/>
                    <a:pt x="199" y="0"/>
                  </a:cubicBezTo>
                  <a:cubicBezTo>
                    <a:pt x="309" y="0"/>
                    <a:pt x="399" y="90"/>
                    <a:pt x="399" y="200"/>
                  </a:cubicBezTo>
                  <a:cubicBezTo>
                    <a:pt x="399" y="310"/>
                    <a:pt x="309" y="399"/>
                    <a:pt x="199" y="399"/>
                  </a:cubicBezTo>
                  <a:close/>
                  <a:moveTo>
                    <a:pt x="199" y="80"/>
                  </a:moveTo>
                  <a:cubicBezTo>
                    <a:pt x="133" y="80"/>
                    <a:pt x="80" y="134"/>
                    <a:pt x="80" y="200"/>
                  </a:cubicBezTo>
                  <a:cubicBezTo>
                    <a:pt x="80" y="266"/>
                    <a:pt x="133" y="319"/>
                    <a:pt x="199" y="319"/>
                  </a:cubicBezTo>
                  <a:cubicBezTo>
                    <a:pt x="265" y="319"/>
                    <a:pt x="319" y="266"/>
                    <a:pt x="319" y="200"/>
                  </a:cubicBezTo>
                  <a:cubicBezTo>
                    <a:pt x="319" y="134"/>
                    <a:pt x="265" y="80"/>
                    <a:pt x="199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887485AB-B15B-43C7-9EC8-BC3A869149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54275" y="6777038"/>
              <a:ext cx="258763" cy="263525"/>
            </a:xfrm>
            <a:custGeom>
              <a:avLst/>
              <a:gdLst>
                <a:gd name="T0" fmla="*/ 199 w 398"/>
                <a:gd name="T1" fmla="*/ 399 h 399"/>
                <a:gd name="T2" fmla="*/ 0 w 398"/>
                <a:gd name="T3" fmla="*/ 200 h 399"/>
                <a:gd name="T4" fmla="*/ 199 w 398"/>
                <a:gd name="T5" fmla="*/ 0 h 399"/>
                <a:gd name="T6" fmla="*/ 398 w 398"/>
                <a:gd name="T7" fmla="*/ 200 h 399"/>
                <a:gd name="T8" fmla="*/ 199 w 398"/>
                <a:gd name="T9" fmla="*/ 399 h 399"/>
                <a:gd name="T10" fmla="*/ 199 w 398"/>
                <a:gd name="T11" fmla="*/ 80 h 399"/>
                <a:gd name="T12" fmla="*/ 79 w 398"/>
                <a:gd name="T13" fmla="*/ 200 h 399"/>
                <a:gd name="T14" fmla="*/ 199 w 398"/>
                <a:gd name="T15" fmla="*/ 319 h 399"/>
                <a:gd name="T16" fmla="*/ 318 w 398"/>
                <a:gd name="T17" fmla="*/ 200 h 399"/>
                <a:gd name="T18" fmla="*/ 199 w 398"/>
                <a:gd name="T19" fmla="*/ 80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8" h="399">
                  <a:moveTo>
                    <a:pt x="199" y="399"/>
                  </a:moveTo>
                  <a:cubicBezTo>
                    <a:pt x="89" y="399"/>
                    <a:pt x="0" y="310"/>
                    <a:pt x="0" y="200"/>
                  </a:cubicBezTo>
                  <a:cubicBezTo>
                    <a:pt x="0" y="90"/>
                    <a:pt x="89" y="0"/>
                    <a:pt x="199" y="0"/>
                  </a:cubicBezTo>
                  <a:cubicBezTo>
                    <a:pt x="309" y="0"/>
                    <a:pt x="398" y="90"/>
                    <a:pt x="398" y="200"/>
                  </a:cubicBezTo>
                  <a:cubicBezTo>
                    <a:pt x="398" y="310"/>
                    <a:pt x="309" y="399"/>
                    <a:pt x="199" y="399"/>
                  </a:cubicBezTo>
                  <a:close/>
                  <a:moveTo>
                    <a:pt x="199" y="80"/>
                  </a:moveTo>
                  <a:cubicBezTo>
                    <a:pt x="133" y="80"/>
                    <a:pt x="79" y="134"/>
                    <a:pt x="79" y="200"/>
                  </a:cubicBezTo>
                  <a:cubicBezTo>
                    <a:pt x="79" y="266"/>
                    <a:pt x="133" y="319"/>
                    <a:pt x="199" y="319"/>
                  </a:cubicBezTo>
                  <a:cubicBezTo>
                    <a:pt x="265" y="319"/>
                    <a:pt x="318" y="266"/>
                    <a:pt x="318" y="200"/>
                  </a:cubicBezTo>
                  <a:cubicBezTo>
                    <a:pt x="318" y="134"/>
                    <a:pt x="265" y="80"/>
                    <a:pt x="199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7">
              <a:extLst>
                <a:ext uri="{FF2B5EF4-FFF2-40B4-BE49-F238E27FC236}">
                  <a16:creationId xmlns:a16="http://schemas.microsoft.com/office/drawing/2014/main" id="{CD1E6A10-D2B0-451C-8CFE-CE67FA7A60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7888" y="6303963"/>
              <a:ext cx="1600200" cy="1579562"/>
            </a:xfrm>
            <a:custGeom>
              <a:avLst/>
              <a:gdLst>
                <a:gd name="T0" fmla="*/ 2403 w 2450"/>
                <a:gd name="T1" fmla="*/ 1027 h 2392"/>
                <a:gd name="T2" fmla="*/ 2254 w 2450"/>
                <a:gd name="T3" fmla="*/ 862 h 2392"/>
                <a:gd name="T4" fmla="*/ 1565 w 2450"/>
                <a:gd name="T5" fmla="*/ 1116 h 2392"/>
                <a:gd name="T6" fmla="*/ 1265 w 2450"/>
                <a:gd name="T7" fmla="*/ 478 h 2392"/>
                <a:gd name="T8" fmla="*/ 1664 w 2450"/>
                <a:gd name="T9" fmla="*/ 638 h 2392"/>
                <a:gd name="T10" fmla="*/ 2225 w 2450"/>
                <a:gd name="T11" fmla="*/ 398 h 2392"/>
                <a:gd name="T12" fmla="*/ 1863 w 2450"/>
                <a:gd name="T13" fmla="*/ 159 h 2392"/>
                <a:gd name="T14" fmla="*/ 1185 w 2450"/>
                <a:gd name="T15" fmla="*/ 0 h 2392"/>
                <a:gd name="T16" fmla="*/ 885 w 2450"/>
                <a:gd name="T17" fmla="*/ 1116 h 2392"/>
                <a:gd name="T18" fmla="*/ 196 w 2450"/>
                <a:gd name="T19" fmla="*/ 862 h 2392"/>
                <a:gd name="T20" fmla="*/ 47 w 2450"/>
                <a:gd name="T21" fmla="*/ 1027 h 2392"/>
                <a:gd name="T22" fmla="*/ 428 w 2450"/>
                <a:gd name="T23" fmla="*/ 2312 h 2392"/>
                <a:gd name="T24" fmla="*/ 29 w 2450"/>
                <a:gd name="T25" fmla="*/ 2392 h 2392"/>
                <a:gd name="T26" fmla="*/ 2421 w 2450"/>
                <a:gd name="T27" fmla="*/ 2312 h 2392"/>
                <a:gd name="T28" fmla="*/ 2023 w 2450"/>
                <a:gd name="T29" fmla="*/ 1373 h 2392"/>
                <a:gd name="T30" fmla="*/ 2203 w 2450"/>
                <a:gd name="T31" fmla="*/ 239 h 2392"/>
                <a:gd name="T32" fmla="*/ 2203 w 2450"/>
                <a:gd name="T33" fmla="*/ 558 h 2392"/>
                <a:gd name="T34" fmla="*/ 1743 w 2450"/>
                <a:gd name="T35" fmla="*/ 478 h 2392"/>
                <a:gd name="T36" fmla="*/ 1863 w 2450"/>
                <a:gd name="T37" fmla="*/ 239 h 2392"/>
                <a:gd name="T38" fmla="*/ 1783 w 2450"/>
                <a:gd name="T39" fmla="*/ 79 h 2392"/>
                <a:gd name="T40" fmla="*/ 1265 w 2450"/>
                <a:gd name="T41" fmla="*/ 398 h 2392"/>
                <a:gd name="T42" fmla="*/ 826 w 2450"/>
                <a:gd name="T43" fmla="*/ 2312 h 2392"/>
                <a:gd name="T44" fmla="*/ 707 w 2450"/>
                <a:gd name="T45" fmla="*/ 1754 h 2392"/>
                <a:gd name="T46" fmla="*/ 627 w 2450"/>
                <a:gd name="T47" fmla="*/ 2312 h 2392"/>
                <a:gd name="T48" fmla="*/ 507 w 2450"/>
                <a:gd name="T49" fmla="*/ 1338 h 2392"/>
                <a:gd name="T50" fmla="*/ 96 w 2450"/>
                <a:gd name="T51" fmla="*/ 927 h 2392"/>
                <a:gd name="T52" fmla="*/ 143 w 2450"/>
                <a:gd name="T53" fmla="*/ 921 h 2392"/>
                <a:gd name="T54" fmla="*/ 847 w 2450"/>
                <a:gd name="T55" fmla="*/ 1196 h 2392"/>
                <a:gd name="T56" fmla="*/ 1140 w 2450"/>
                <a:gd name="T57" fmla="*/ 1604 h 2392"/>
                <a:gd name="T58" fmla="*/ 826 w 2450"/>
                <a:gd name="T59" fmla="*/ 1287 h 2392"/>
                <a:gd name="T60" fmla="*/ 1544 w 2450"/>
                <a:gd name="T61" fmla="*/ 2312 h 2392"/>
                <a:gd name="T62" fmla="*/ 906 w 2450"/>
                <a:gd name="T63" fmla="*/ 1503 h 2392"/>
                <a:gd name="T64" fmla="*/ 1181 w 2450"/>
                <a:gd name="T65" fmla="*/ 1672 h 2392"/>
                <a:gd name="T66" fmla="*/ 1185 w 2450"/>
                <a:gd name="T67" fmla="*/ 1993 h 2392"/>
                <a:gd name="T68" fmla="*/ 1265 w 2450"/>
                <a:gd name="T69" fmla="*/ 1668 h 2392"/>
                <a:gd name="T70" fmla="*/ 1417 w 2450"/>
                <a:gd name="T71" fmla="*/ 1652 h 2392"/>
                <a:gd name="T72" fmla="*/ 1544 w 2450"/>
                <a:gd name="T73" fmla="*/ 2312 h 2392"/>
                <a:gd name="T74" fmla="*/ 1823 w 2450"/>
                <a:gd name="T75" fmla="*/ 2312 h 2392"/>
                <a:gd name="T76" fmla="*/ 1743 w 2450"/>
                <a:gd name="T77" fmla="*/ 1754 h 2392"/>
                <a:gd name="T78" fmla="*/ 1624 w 2450"/>
                <a:gd name="T79" fmla="*/ 2312 h 2392"/>
                <a:gd name="T80" fmla="*/ 1356 w 2450"/>
                <a:gd name="T81" fmla="*/ 1600 h 2392"/>
                <a:gd name="T82" fmla="*/ 1299 w 2450"/>
                <a:gd name="T83" fmla="*/ 1583 h 2392"/>
                <a:gd name="T84" fmla="*/ 1603 w 2450"/>
                <a:gd name="T85" fmla="*/ 1196 h 2392"/>
                <a:gd name="T86" fmla="*/ 2307 w 2450"/>
                <a:gd name="T87" fmla="*/ 921 h 2392"/>
                <a:gd name="T88" fmla="*/ 2354 w 2450"/>
                <a:gd name="T89" fmla="*/ 928 h 2392"/>
                <a:gd name="T90" fmla="*/ 1943 w 2450"/>
                <a:gd name="T91" fmla="*/ 1338 h 2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50" h="2392">
                  <a:moveTo>
                    <a:pt x="2023" y="1373"/>
                  </a:moveTo>
                  <a:cubicBezTo>
                    <a:pt x="2403" y="1027"/>
                    <a:pt x="2403" y="1027"/>
                    <a:pt x="2403" y="1027"/>
                  </a:cubicBezTo>
                  <a:cubicBezTo>
                    <a:pt x="2447" y="986"/>
                    <a:pt x="2450" y="917"/>
                    <a:pt x="2410" y="871"/>
                  </a:cubicBezTo>
                  <a:cubicBezTo>
                    <a:pt x="2369" y="826"/>
                    <a:pt x="2300" y="822"/>
                    <a:pt x="2254" y="862"/>
                  </a:cubicBezTo>
                  <a:cubicBezTo>
                    <a:pt x="1967" y="1116"/>
                    <a:pt x="1967" y="1116"/>
                    <a:pt x="1967" y="1116"/>
                  </a:cubicBezTo>
                  <a:cubicBezTo>
                    <a:pt x="1565" y="1116"/>
                    <a:pt x="1565" y="1116"/>
                    <a:pt x="1565" y="1116"/>
                  </a:cubicBezTo>
                  <a:cubicBezTo>
                    <a:pt x="1265" y="1483"/>
                    <a:pt x="1265" y="1483"/>
                    <a:pt x="1265" y="1483"/>
                  </a:cubicBezTo>
                  <a:cubicBezTo>
                    <a:pt x="1265" y="478"/>
                    <a:pt x="1265" y="478"/>
                    <a:pt x="1265" y="478"/>
                  </a:cubicBezTo>
                  <a:cubicBezTo>
                    <a:pt x="1664" y="478"/>
                    <a:pt x="1664" y="478"/>
                    <a:pt x="1664" y="478"/>
                  </a:cubicBezTo>
                  <a:cubicBezTo>
                    <a:pt x="1664" y="638"/>
                    <a:pt x="1664" y="638"/>
                    <a:pt x="1664" y="638"/>
                  </a:cubicBezTo>
                  <a:cubicBezTo>
                    <a:pt x="2321" y="638"/>
                    <a:pt x="2321" y="638"/>
                    <a:pt x="2321" y="638"/>
                  </a:cubicBezTo>
                  <a:cubicBezTo>
                    <a:pt x="2225" y="398"/>
                    <a:pt x="2225" y="398"/>
                    <a:pt x="2225" y="398"/>
                  </a:cubicBezTo>
                  <a:cubicBezTo>
                    <a:pt x="2321" y="159"/>
                    <a:pt x="2321" y="159"/>
                    <a:pt x="2321" y="159"/>
                  </a:cubicBezTo>
                  <a:cubicBezTo>
                    <a:pt x="1863" y="159"/>
                    <a:pt x="1863" y="159"/>
                    <a:pt x="1863" y="159"/>
                  </a:cubicBezTo>
                  <a:cubicBezTo>
                    <a:pt x="1863" y="0"/>
                    <a:pt x="1863" y="0"/>
                    <a:pt x="1863" y="0"/>
                  </a:cubicBezTo>
                  <a:cubicBezTo>
                    <a:pt x="1185" y="0"/>
                    <a:pt x="1185" y="0"/>
                    <a:pt x="1185" y="0"/>
                  </a:cubicBezTo>
                  <a:cubicBezTo>
                    <a:pt x="1185" y="1483"/>
                    <a:pt x="1185" y="1483"/>
                    <a:pt x="1185" y="1483"/>
                  </a:cubicBezTo>
                  <a:cubicBezTo>
                    <a:pt x="885" y="1116"/>
                    <a:pt x="885" y="1116"/>
                    <a:pt x="885" y="1116"/>
                  </a:cubicBezTo>
                  <a:cubicBezTo>
                    <a:pt x="483" y="1116"/>
                    <a:pt x="483" y="1116"/>
                    <a:pt x="483" y="1116"/>
                  </a:cubicBezTo>
                  <a:cubicBezTo>
                    <a:pt x="196" y="862"/>
                    <a:pt x="196" y="862"/>
                    <a:pt x="196" y="862"/>
                  </a:cubicBezTo>
                  <a:cubicBezTo>
                    <a:pt x="150" y="822"/>
                    <a:pt x="81" y="826"/>
                    <a:pt x="40" y="871"/>
                  </a:cubicBezTo>
                  <a:cubicBezTo>
                    <a:pt x="0" y="916"/>
                    <a:pt x="3" y="986"/>
                    <a:pt x="47" y="1027"/>
                  </a:cubicBezTo>
                  <a:cubicBezTo>
                    <a:pt x="428" y="1373"/>
                    <a:pt x="428" y="1373"/>
                    <a:pt x="428" y="1373"/>
                  </a:cubicBezTo>
                  <a:cubicBezTo>
                    <a:pt x="428" y="2312"/>
                    <a:pt x="428" y="2312"/>
                    <a:pt x="428" y="2312"/>
                  </a:cubicBezTo>
                  <a:cubicBezTo>
                    <a:pt x="29" y="2312"/>
                    <a:pt x="29" y="2312"/>
                    <a:pt x="29" y="2312"/>
                  </a:cubicBezTo>
                  <a:cubicBezTo>
                    <a:pt x="29" y="2392"/>
                    <a:pt x="29" y="2392"/>
                    <a:pt x="29" y="2392"/>
                  </a:cubicBezTo>
                  <a:cubicBezTo>
                    <a:pt x="2421" y="2392"/>
                    <a:pt x="2421" y="2392"/>
                    <a:pt x="2421" y="2392"/>
                  </a:cubicBezTo>
                  <a:cubicBezTo>
                    <a:pt x="2421" y="2312"/>
                    <a:pt x="2421" y="2312"/>
                    <a:pt x="2421" y="2312"/>
                  </a:cubicBezTo>
                  <a:cubicBezTo>
                    <a:pt x="2023" y="2312"/>
                    <a:pt x="2023" y="2312"/>
                    <a:pt x="2023" y="2312"/>
                  </a:cubicBezTo>
                  <a:lnTo>
                    <a:pt x="2023" y="1373"/>
                  </a:lnTo>
                  <a:close/>
                  <a:moveTo>
                    <a:pt x="1863" y="239"/>
                  </a:moveTo>
                  <a:cubicBezTo>
                    <a:pt x="2203" y="239"/>
                    <a:pt x="2203" y="239"/>
                    <a:pt x="2203" y="239"/>
                  </a:cubicBezTo>
                  <a:cubicBezTo>
                    <a:pt x="2139" y="398"/>
                    <a:pt x="2139" y="398"/>
                    <a:pt x="2139" y="398"/>
                  </a:cubicBezTo>
                  <a:cubicBezTo>
                    <a:pt x="2203" y="558"/>
                    <a:pt x="2203" y="558"/>
                    <a:pt x="2203" y="558"/>
                  </a:cubicBezTo>
                  <a:cubicBezTo>
                    <a:pt x="1743" y="558"/>
                    <a:pt x="1743" y="558"/>
                    <a:pt x="1743" y="558"/>
                  </a:cubicBezTo>
                  <a:cubicBezTo>
                    <a:pt x="1743" y="478"/>
                    <a:pt x="1743" y="478"/>
                    <a:pt x="1743" y="478"/>
                  </a:cubicBezTo>
                  <a:cubicBezTo>
                    <a:pt x="1863" y="478"/>
                    <a:pt x="1863" y="478"/>
                    <a:pt x="1863" y="478"/>
                  </a:cubicBezTo>
                  <a:lnTo>
                    <a:pt x="1863" y="239"/>
                  </a:lnTo>
                  <a:close/>
                  <a:moveTo>
                    <a:pt x="1265" y="79"/>
                  </a:moveTo>
                  <a:cubicBezTo>
                    <a:pt x="1783" y="79"/>
                    <a:pt x="1783" y="79"/>
                    <a:pt x="1783" y="79"/>
                  </a:cubicBezTo>
                  <a:cubicBezTo>
                    <a:pt x="1783" y="398"/>
                    <a:pt x="1783" y="398"/>
                    <a:pt x="1783" y="398"/>
                  </a:cubicBezTo>
                  <a:cubicBezTo>
                    <a:pt x="1265" y="398"/>
                    <a:pt x="1265" y="398"/>
                    <a:pt x="1265" y="398"/>
                  </a:cubicBezTo>
                  <a:lnTo>
                    <a:pt x="1265" y="79"/>
                  </a:lnTo>
                  <a:close/>
                  <a:moveTo>
                    <a:pt x="826" y="2312"/>
                  </a:moveTo>
                  <a:cubicBezTo>
                    <a:pt x="707" y="2312"/>
                    <a:pt x="707" y="2312"/>
                    <a:pt x="707" y="2312"/>
                  </a:cubicBezTo>
                  <a:cubicBezTo>
                    <a:pt x="707" y="1754"/>
                    <a:pt x="707" y="1754"/>
                    <a:pt x="707" y="1754"/>
                  </a:cubicBezTo>
                  <a:cubicBezTo>
                    <a:pt x="627" y="1754"/>
                    <a:pt x="627" y="1754"/>
                    <a:pt x="627" y="1754"/>
                  </a:cubicBezTo>
                  <a:cubicBezTo>
                    <a:pt x="627" y="2312"/>
                    <a:pt x="627" y="2312"/>
                    <a:pt x="627" y="2312"/>
                  </a:cubicBezTo>
                  <a:cubicBezTo>
                    <a:pt x="507" y="2312"/>
                    <a:pt x="507" y="2312"/>
                    <a:pt x="507" y="2312"/>
                  </a:cubicBezTo>
                  <a:cubicBezTo>
                    <a:pt x="507" y="1338"/>
                    <a:pt x="507" y="1338"/>
                    <a:pt x="507" y="1338"/>
                  </a:cubicBezTo>
                  <a:cubicBezTo>
                    <a:pt x="101" y="968"/>
                    <a:pt x="101" y="968"/>
                    <a:pt x="101" y="968"/>
                  </a:cubicBezTo>
                  <a:cubicBezTo>
                    <a:pt x="90" y="958"/>
                    <a:pt x="88" y="940"/>
                    <a:pt x="96" y="927"/>
                  </a:cubicBezTo>
                  <a:cubicBezTo>
                    <a:pt x="101" y="920"/>
                    <a:pt x="109" y="915"/>
                    <a:pt x="119" y="914"/>
                  </a:cubicBezTo>
                  <a:cubicBezTo>
                    <a:pt x="128" y="912"/>
                    <a:pt x="137" y="915"/>
                    <a:pt x="143" y="921"/>
                  </a:cubicBezTo>
                  <a:cubicBezTo>
                    <a:pt x="452" y="1196"/>
                    <a:pt x="452" y="1196"/>
                    <a:pt x="452" y="1196"/>
                  </a:cubicBezTo>
                  <a:cubicBezTo>
                    <a:pt x="847" y="1196"/>
                    <a:pt x="847" y="1196"/>
                    <a:pt x="847" y="1196"/>
                  </a:cubicBezTo>
                  <a:cubicBezTo>
                    <a:pt x="1144" y="1558"/>
                    <a:pt x="1144" y="1558"/>
                    <a:pt x="1144" y="1558"/>
                  </a:cubicBezTo>
                  <a:cubicBezTo>
                    <a:pt x="1155" y="1572"/>
                    <a:pt x="1154" y="1592"/>
                    <a:pt x="1140" y="1604"/>
                  </a:cubicBezTo>
                  <a:cubicBezTo>
                    <a:pt x="1126" y="1615"/>
                    <a:pt x="1106" y="1613"/>
                    <a:pt x="1094" y="1600"/>
                  </a:cubicBezTo>
                  <a:cubicBezTo>
                    <a:pt x="826" y="1287"/>
                    <a:pt x="826" y="1287"/>
                    <a:pt x="826" y="1287"/>
                  </a:cubicBezTo>
                  <a:lnTo>
                    <a:pt x="826" y="2312"/>
                  </a:lnTo>
                  <a:close/>
                  <a:moveTo>
                    <a:pt x="1544" y="2312"/>
                  </a:moveTo>
                  <a:cubicBezTo>
                    <a:pt x="906" y="2312"/>
                    <a:pt x="906" y="2312"/>
                    <a:pt x="906" y="2312"/>
                  </a:cubicBezTo>
                  <a:cubicBezTo>
                    <a:pt x="906" y="1503"/>
                    <a:pt x="906" y="1503"/>
                    <a:pt x="906" y="1503"/>
                  </a:cubicBezTo>
                  <a:cubicBezTo>
                    <a:pt x="1034" y="1651"/>
                    <a:pt x="1034" y="1651"/>
                    <a:pt x="1034" y="1651"/>
                  </a:cubicBezTo>
                  <a:cubicBezTo>
                    <a:pt x="1071" y="1695"/>
                    <a:pt x="1134" y="1703"/>
                    <a:pt x="1181" y="1672"/>
                  </a:cubicBezTo>
                  <a:cubicBezTo>
                    <a:pt x="1183" y="1671"/>
                    <a:pt x="1184" y="1669"/>
                    <a:pt x="1185" y="1668"/>
                  </a:cubicBezTo>
                  <a:cubicBezTo>
                    <a:pt x="1185" y="1993"/>
                    <a:pt x="1185" y="1993"/>
                    <a:pt x="1185" y="1993"/>
                  </a:cubicBezTo>
                  <a:cubicBezTo>
                    <a:pt x="1265" y="1993"/>
                    <a:pt x="1265" y="1993"/>
                    <a:pt x="1265" y="1993"/>
                  </a:cubicBezTo>
                  <a:cubicBezTo>
                    <a:pt x="1265" y="1668"/>
                    <a:pt x="1265" y="1668"/>
                    <a:pt x="1265" y="1668"/>
                  </a:cubicBezTo>
                  <a:cubicBezTo>
                    <a:pt x="1267" y="1670"/>
                    <a:pt x="1268" y="1671"/>
                    <a:pt x="1270" y="1672"/>
                  </a:cubicBezTo>
                  <a:cubicBezTo>
                    <a:pt x="1317" y="1703"/>
                    <a:pt x="1380" y="1695"/>
                    <a:pt x="1417" y="1652"/>
                  </a:cubicBezTo>
                  <a:cubicBezTo>
                    <a:pt x="1544" y="1503"/>
                    <a:pt x="1544" y="1503"/>
                    <a:pt x="1544" y="1503"/>
                  </a:cubicBezTo>
                  <a:lnTo>
                    <a:pt x="1544" y="2312"/>
                  </a:lnTo>
                  <a:close/>
                  <a:moveTo>
                    <a:pt x="1943" y="2312"/>
                  </a:moveTo>
                  <a:cubicBezTo>
                    <a:pt x="1823" y="2312"/>
                    <a:pt x="1823" y="2312"/>
                    <a:pt x="1823" y="2312"/>
                  </a:cubicBezTo>
                  <a:cubicBezTo>
                    <a:pt x="1823" y="1754"/>
                    <a:pt x="1823" y="1754"/>
                    <a:pt x="1823" y="1754"/>
                  </a:cubicBezTo>
                  <a:cubicBezTo>
                    <a:pt x="1743" y="1754"/>
                    <a:pt x="1743" y="1754"/>
                    <a:pt x="1743" y="1754"/>
                  </a:cubicBezTo>
                  <a:cubicBezTo>
                    <a:pt x="1743" y="2312"/>
                    <a:pt x="1743" y="2312"/>
                    <a:pt x="1743" y="2312"/>
                  </a:cubicBezTo>
                  <a:cubicBezTo>
                    <a:pt x="1624" y="2312"/>
                    <a:pt x="1624" y="2312"/>
                    <a:pt x="1624" y="2312"/>
                  </a:cubicBezTo>
                  <a:cubicBezTo>
                    <a:pt x="1624" y="1287"/>
                    <a:pt x="1624" y="1287"/>
                    <a:pt x="1624" y="1287"/>
                  </a:cubicBezTo>
                  <a:cubicBezTo>
                    <a:pt x="1356" y="1600"/>
                    <a:pt x="1356" y="1600"/>
                    <a:pt x="1356" y="1600"/>
                  </a:cubicBezTo>
                  <a:cubicBezTo>
                    <a:pt x="1345" y="1612"/>
                    <a:pt x="1327" y="1615"/>
                    <a:pt x="1313" y="1606"/>
                  </a:cubicBezTo>
                  <a:cubicBezTo>
                    <a:pt x="1306" y="1601"/>
                    <a:pt x="1301" y="1593"/>
                    <a:pt x="1299" y="1583"/>
                  </a:cubicBezTo>
                  <a:cubicBezTo>
                    <a:pt x="1298" y="1574"/>
                    <a:pt x="1301" y="1565"/>
                    <a:pt x="1306" y="1558"/>
                  </a:cubicBezTo>
                  <a:cubicBezTo>
                    <a:pt x="1603" y="1196"/>
                    <a:pt x="1603" y="1196"/>
                    <a:pt x="1603" y="1196"/>
                  </a:cubicBezTo>
                  <a:cubicBezTo>
                    <a:pt x="1998" y="1196"/>
                    <a:pt x="1998" y="1196"/>
                    <a:pt x="1998" y="1196"/>
                  </a:cubicBezTo>
                  <a:cubicBezTo>
                    <a:pt x="2307" y="921"/>
                    <a:pt x="2307" y="921"/>
                    <a:pt x="2307" y="921"/>
                  </a:cubicBezTo>
                  <a:cubicBezTo>
                    <a:pt x="2313" y="915"/>
                    <a:pt x="2323" y="912"/>
                    <a:pt x="2332" y="913"/>
                  </a:cubicBezTo>
                  <a:cubicBezTo>
                    <a:pt x="2341" y="915"/>
                    <a:pt x="2349" y="920"/>
                    <a:pt x="2354" y="928"/>
                  </a:cubicBezTo>
                  <a:cubicBezTo>
                    <a:pt x="2363" y="941"/>
                    <a:pt x="2360" y="958"/>
                    <a:pt x="2349" y="968"/>
                  </a:cubicBezTo>
                  <a:cubicBezTo>
                    <a:pt x="1943" y="1338"/>
                    <a:pt x="1943" y="1338"/>
                    <a:pt x="1943" y="1338"/>
                  </a:cubicBezTo>
                  <a:lnTo>
                    <a:pt x="1943" y="23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FBA8BD0-2B13-4A96-9503-5641B62007AF}"/>
              </a:ext>
            </a:extLst>
          </p:cNvPr>
          <p:cNvGrpSpPr/>
          <p:nvPr/>
        </p:nvGrpSpPr>
        <p:grpSpPr>
          <a:xfrm>
            <a:off x="3090702" y="4118991"/>
            <a:ext cx="1014032" cy="851636"/>
            <a:chOff x="3028951" y="4581526"/>
            <a:chExt cx="1704975" cy="1431925"/>
          </a:xfrm>
          <a:solidFill>
            <a:srgbClr val="212F3F"/>
          </a:solidFill>
        </p:grpSpPr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E1551147-726F-43DE-8886-DF86FBC668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8951" y="4581526"/>
              <a:ext cx="1704975" cy="1431925"/>
            </a:xfrm>
            <a:custGeom>
              <a:avLst/>
              <a:gdLst>
                <a:gd name="T0" fmla="*/ 1917 w 1924"/>
                <a:gd name="T1" fmla="*/ 783 h 1600"/>
                <a:gd name="T2" fmla="*/ 994 w 1924"/>
                <a:gd name="T3" fmla="*/ 257 h 1600"/>
                <a:gd name="T4" fmla="*/ 994 w 1924"/>
                <a:gd name="T5" fmla="*/ 0 h 1600"/>
                <a:gd name="T6" fmla="*/ 930 w 1924"/>
                <a:gd name="T7" fmla="*/ 0 h 1600"/>
                <a:gd name="T8" fmla="*/ 930 w 1924"/>
                <a:gd name="T9" fmla="*/ 257 h 1600"/>
                <a:gd name="T10" fmla="*/ 7 w 1924"/>
                <a:gd name="T11" fmla="*/ 783 h 1600"/>
                <a:gd name="T12" fmla="*/ 7 w 1924"/>
                <a:gd name="T13" fmla="*/ 817 h 1600"/>
                <a:gd name="T14" fmla="*/ 930 w 1924"/>
                <a:gd name="T15" fmla="*/ 1343 h 1600"/>
                <a:gd name="T16" fmla="*/ 930 w 1924"/>
                <a:gd name="T17" fmla="*/ 1600 h 1600"/>
                <a:gd name="T18" fmla="*/ 994 w 1924"/>
                <a:gd name="T19" fmla="*/ 1600 h 1600"/>
                <a:gd name="T20" fmla="*/ 994 w 1924"/>
                <a:gd name="T21" fmla="*/ 1343 h 1600"/>
                <a:gd name="T22" fmla="*/ 1917 w 1924"/>
                <a:gd name="T23" fmla="*/ 817 h 1600"/>
                <a:gd name="T24" fmla="*/ 1917 w 1924"/>
                <a:gd name="T25" fmla="*/ 783 h 1600"/>
                <a:gd name="T26" fmla="*/ 72 w 1924"/>
                <a:gd name="T27" fmla="*/ 800 h 1600"/>
                <a:gd name="T28" fmla="*/ 623 w 1924"/>
                <a:gd name="T29" fmla="*/ 375 h 1600"/>
                <a:gd name="T30" fmla="*/ 420 w 1924"/>
                <a:gd name="T31" fmla="*/ 768 h 1600"/>
                <a:gd name="T32" fmla="*/ 162 w 1924"/>
                <a:gd name="T33" fmla="*/ 768 h 1600"/>
                <a:gd name="T34" fmla="*/ 162 w 1924"/>
                <a:gd name="T35" fmla="*/ 832 h 1600"/>
                <a:gd name="T36" fmla="*/ 420 w 1924"/>
                <a:gd name="T37" fmla="*/ 832 h 1600"/>
                <a:gd name="T38" fmla="*/ 623 w 1924"/>
                <a:gd name="T39" fmla="*/ 1225 h 1600"/>
                <a:gd name="T40" fmla="*/ 72 w 1924"/>
                <a:gd name="T41" fmla="*/ 800 h 1600"/>
                <a:gd name="T42" fmla="*/ 930 w 1924"/>
                <a:gd name="T43" fmla="*/ 1088 h 1600"/>
                <a:gd name="T44" fmla="*/ 930 w 1924"/>
                <a:gd name="T45" fmla="*/ 1278 h 1600"/>
                <a:gd name="T46" fmla="*/ 484 w 1924"/>
                <a:gd name="T47" fmla="*/ 832 h 1600"/>
                <a:gd name="T48" fmla="*/ 674 w 1924"/>
                <a:gd name="T49" fmla="*/ 832 h 1600"/>
                <a:gd name="T50" fmla="*/ 674 w 1924"/>
                <a:gd name="T51" fmla="*/ 768 h 1600"/>
                <a:gd name="T52" fmla="*/ 484 w 1924"/>
                <a:gd name="T53" fmla="*/ 768 h 1600"/>
                <a:gd name="T54" fmla="*/ 930 w 1924"/>
                <a:gd name="T55" fmla="*/ 322 h 1600"/>
                <a:gd name="T56" fmla="*/ 930 w 1924"/>
                <a:gd name="T57" fmla="*/ 512 h 1600"/>
                <a:gd name="T58" fmla="*/ 994 w 1924"/>
                <a:gd name="T59" fmla="*/ 512 h 1600"/>
                <a:gd name="T60" fmla="*/ 994 w 1924"/>
                <a:gd name="T61" fmla="*/ 322 h 1600"/>
                <a:gd name="T62" fmla="*/ 1440 w 1924"/>
                <a:gd name="T63" fmla="*/ 768 h 1600"/>
                <a:gd name="T64" fmla="*/ 1250 w 1924"/>
                <a:gd name="T65" fmla="*/ 768 h 1600"/>
                <a:gd name="T66" fmla="*/ 1250 w 1924"/>
                <a:gd name="T67" fmla="*/ 832 h 1600"/>
                <a:gd name="T68" fmla="*/ 1440 w 1924"/>
                <a:gd name="T69" fmla="*/ 832 h 1600"/>
                <a:gd name="T70" fmla="*/ 994 w 1924"/>
                <a:gd name="T71" fmla="*/ 1278 h 1600"/>
                <a:gd name="T72" fmla="*/ 994 w 1924"/>
                <a:gd name="T73" fmla="*/ 1088 h 1600"/>
                <a:gd name="T74" fmla="*/ 930 w 1924"/>
                <a:gd name="T75" fmla="*/ 1088 h 1600"/>
                <a:gd name="T76" fmla="*/ 1852 w 1924"/>
                <a:gd name="T77" fmla="*/ 800 h 1600"/>
                <a:gd name="T78" fmla="*/ 1301 w 1924"/>
                <a:gd name="T79" fmla="*/ 1225 h 1600"/>
                <a:gd name="T80" fmla="*/ 1504 w 1924"/>
                <a:gd name="T81" fmla="*/ 832 h 1600"/>
                <a:gd name="T82" fmla="*/ 1762 w 1924"/>
                <a:gd name="T83" fmla="*/ 832 h 1600"/>
                <a:gd name="T84" fmla="*/ 1762 w 1924"/>
                <a:gd name="T85" fmla="*/ 768 h 1600"/>
                <a:gd name="T86" fmla="*/ 1504 w 1924"/>
                <a:gd name="T87" fmla="*/ 768 h 1600"/>
                <a:gd name="T88" fmla="*/ 1301 w 1924"/>
                <a:gd name="T89" fmla="*/ 375 h 1600"/>
                <a:gd name="T90" fmla="*/ 1852 w 1924"/>
                <a:gd name="T91" fmla="*/ 8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924" h="1600">
                  <a:moveTo>
                    <a:pt x="1917" y="783"/>
                  </a:moveTo>
                  <a:cubicBezTo>
                    <a:pt x="1717" y="464"/>
                    <a:pt x="1370" y="266"/>
                    <a:pt x="994" y="257"/>
                  </a:cubicBezTo>
                  <a:cubicBezTo>
                    <a:pt x="994" y="0"/>
                    <a:pt x="994" y="0"/>
                    <a:pt x="994" y="0"/>
                  </a:cubicBezTo>
                  <a:cubicBezTo>
                    <a:pt x="930" y="0"/>
                    <a:pt x="930" y="0"/>
                    <a:pt x="930" y="0"/>
                  </a:cubicBezTo>
                  <a:cubicBezTo>
                    <a:pt x="930" y="257"/>
                    <a:pt x="930" y="257"/>
                    <a:pt x="930" y="257"/>
                  </a:cubicBezTo>
                  <a:cubicBezTo>
                    <a:pt x="554" y="266"/>
                    <a:pt x="207" y="464"/>
                    <a:pt x="7" y="783"/>
                  </a:cubicBezTo>
                  <a:cubicBezTo>
                    <a:pt x="0" y="793"/>
                    <a:pt x="0" y="807"/>
                    <a:pt x="7" y="817"/>
                  </a:cubicBezTo>
                  <a:cubicBezTo>
                    <a:pt x="207" y="1136"/>
                    <a:pt x="554" y="1334"/>
                    <a:pt x="930" y="1343"/>
                  </a:cubicBezTo>
                  <a:cubicBezTo>
                    <a:pt x="930" y="1600"/>
                    <a:pt x="930" y="1600"/>
                    <a:pt x="930" y="1600"/>
                  </a:cubicBezTo>
                  <a:cubicBezTo>
                    <a:pt x="994" y="1600"/>
                    <a:pt x="994" y="1600"/>
                    <a:pt x="994" y="1600"/>
                  </a:cubicBezTo>
                  <a:cubicBezTo>
                    <a:pt x="994" y="1343"/>
                    <a:pt x="994" y="1343"/>
                    <a:pt x="994" y="1343"/>
                  </a:cubicBezTo>
                  <a:cubicBezTo>
                    <a:pt x="1370" y="1334"/>
                    <a:pt x="1717" y="1136"/>
                    <a:pt x="1917" y="817"/>
                  </a:cubicBezTo>
                  <a:cubicBezTo>
                    <a:pt x="1924" y="807"/>
                    <a:pt x="1924" y="793"/>
                    <a:pt x="1917" y="783"/>
                  </a:cubicBezTo>
                  <a:close/>
                  <a:moveTo>
                    <a:pt x="72" y="800"/>
                  </a:moveTo>
                  <a:cubicBezTo>
                    <a:pt x="203" y="600"/>
                    <a:pt x="397" y="450"/>
                    <a:pt x="623" y="375"/>
                  </a:cubicBezTo>
                  <a:cubicBezTo>
                    <a:pt x="503" y="471"/>
                    <a:pt x="429" y="614"/>
                    <a:pt x="420" y="768"/>
                  </a:cubicBezTo>
                  <a:cubicBezTo>
                    <a:pt x="162" y="768"/>
                    <a:pt x="162" y="768"/>
                    <a:pt x="162" y="768"/>
                  </a:cubicBezTo>
                  <a:cubicBezTo>
                    <a:pt x="162" y="832"/>
                    <a:pt x="162" y="832"/>
                    <a:pt x="162" y="832"/>
                  </a:cubicBezTo>
                  <a:cubicBezTo>
                    <a:pt x="420" y="832"/>
                    <a:pt x="420" y="832"/>
                    <a:pt x="420" y="832"/>
                  </a:cubicBezTo>
                  <a:cubicBezTo>
                    <a:pt x="429" y="986"/>
                    <a:pt x="503" y="1129"/>
                    <a:pt x="623" y="1225"/>
                  </a:cubicBezTo>
                  <a:cubicBezTo>
                    <a:pt x="397" y="1150"/>
                    <a:pt x="203" y="1000"/>
                    <a:pt x="72" y="800"/>
                  </a:cubicBezTo>
                  <a:close/>
                  <a:moveTo>
                    <a:pt x="930" y="1088"/>
                  </a:moveTo>
                  <a:cubicBezTo>
                    <a:pt x="930" y="1278"/>
                    <a:pt x="930" y="1278"/>
                    <a:pt x="930" y="1278"/>
                  </a:cubicBezTo>
                  <a:cubicBezTo>
                    <a:pt x="691" y="1262"/>
                    <a:pt x="500" y="1071"/>
                    <a:pt x="484" y="832"/>
                  </a:cubicBezTo>
                  <a:cubicBezTo>
                    <a:pt x="674" y="832"/>
                    <a:pt x="674" y="832"/>
                    <a:pt x="674" y="832"/>
                  </a:cubicBezTo>
                  <a:cubicBezTo>
                    <a:pt x="674" y="768"/>
                    <a:pt x="674" y="768"/>
                    <a:pt x="674" y="768"/>
                  </a:cubicBezTo>
                  <a:cubicBezTo>
                    <a:pt x="484" y="768"/>
                    <a:pt x="484" y="768"/>
                    <a:pt x="484" y="768"/>
                  </a:cubicBezTo>
                  <a:cubicBezTo>
                    <a:pt x="500" y="529"/>
                    <a:pt x="691" y="338"/>
                    <a:pt x="930" y="322"/>
                  </a:cubicBezTo>
                  <a:cubicBezTo>
                    <a:pt x="930" y="512"/>
                    <a:pt x="930" y="512"/>
                    <a:pt x="930" y="512"/>
                  </a:cubicBezTo>
                  <a:cubicBezTo>
                    <a:pt x="994" y="512"/>
                    <a:pt x="994" y="512"/>
                    <a:pt x="994" y="512"/>
                  </a:cubicBezTo>
                  <a:cubicBezTo>
                    <a:pt x="994" y="322"/>
                    <a:pt x="994" y="322"/>
                    <a:pt x="994" y="322"/>
                  </a:cubicBezTo>
                  <a:cubicBezTo>
                    <a:pt x="1233" y="338"/>
                    <a:pt x="1424" y="529"/>
                    <a:pt x="1440" y="768"/>
                  </a:cubicBezTo>
                  <a:cubicBezTo>
                    <a:pt x="1250" y="768"/>
                    <a:pt x="1250" y="768"/>
                    <a:pt x="1250" y="768"/>
                  </a:cubicBezTo>
                  <a:cubicBezTo>
                    <a:pt x="1250" y="832"/>
                    <a:pt x="1250" y="832"/>
                    <a:pt x="1250" y="832"/>
                  </a:cubicBezTo>
                  <a:cubicBezTo>
                    <a:pt x="1440" y="832"/>
                    <a:pt x="1440" y="832"/>
                    <a:pt x="1440" y="832"/>
                  </a:cubicBezTo>
                  <a:cubicBezTo>
                    <a:pt x="1424" y="1071"/>
                    <a:pt x="1233" y="1262"/>
                    <a:pt x="994" y="1278"/>
                  </a:cubicBezTo>
                  <a:cubicBezTo>
                    <a:pt x="994" y="1088"/>
                    <a:pt x="994" y="1088"/>
                    <a:pt x="994" y="1088"/>
                  </a:cubicBezTo>
                  <a:lnTo>
                    <a:pt x="930" y="1088"/>
                  </a:lnTo>
                  <a:close/>
                  <a:moveTo>
                    <a:pt x="1852" y="800"/>
                  </a:moveTo>
                  <a:cubicBezTo>
                    <a:pt x="1721" y="1000"/>
                    <a:pt x="1527" y="1150"/>
                    <a:pt x="1301" y="1225"/>
                  </a:cubicBezTo>
                  <a:cubicBezTo>
                    <a:pt x="1421" y="1129"/>
                    <a:pt x="1495" y="986"/>
                    <a:pt x="1504" y="832"/>
                  </a:cubicBezTo>
                  <a:cubicBezTo>
                    <a:pt x="1762" y="832"/>
                    <a:pt x="1762" y="832"/>
                    <a:pt x="1762" y="832"/>
                  </a:cubicBezTo>
                  <a:cubicBezTo>
                    <a:pt x="1762" y="768"/>
                    <a:pt x="1762" y="768"/>
                    <a:pt x="1762" y="768"/>
                  </a:cubicBezTo>
                  <a:cubicBezTo>
                    <a:pt x="1504" y="768"/>
                    <a:pt x="1504" y="768"/>
                    <a:pt x="1504" y="768"/>
                  </a:cubicBezTo>
                  <a:cubicBezTo>
                    <a:pt x="1495" y="614"/>
                    <a:pt x="1421" y="471"/>
                    <a:pt x="1301" y="375"/>
                  </a:cubicBezTo>
                  <a:cubicBezTo>
                    <a:pt x="1527" y="450"/>
                    <a:pt x="1721" y="600"/>
                    <a:pt x="1852" y="8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828C1254-0C18-4F95-BE12-313896A1D0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83001" y="5097463"/>
              <a:ext cx="396875" cy="400050"/>
            </a:xfrm>
            <a:custGeom>
              <a:avLst/>
              <a:gdLst>
                <a:gd name="T0" fmla="*/ 224 w 448"/>
                <a:gd name="T1" fmla="*/ 0 h 448"/>
                <a:gd name="T2" fmla="*/ 0 w 448"/>
                <a:gd name="T3" fmla="*/ 224 h 448"/>
                <a:gd name="T4" fmla="*/ 224 w 448"/>
                <a:gd name="T5" fmla="*/ 448 h 448"/>
                <a:gd name="T6" fmla="*/ 448 w 448"/>
                <a:gd name="T7" fmla="*/ 224 h 448"/>
                <a:gd name="T8" fmla="*/ 224 w 448"/>
                <a:gd name="T9" fmla="*/ 0 h 448"/>
                <a:gd name="T10" fmla="*/ 224 w 448"/>
                <a:gd name="T11" fmla="*/ 384 h 448"/>
                <a:gd name="T12" fmla="*/ 64 w 448"/>
                <a:gd name="T13" fmla="*/ 224 h 448"/>
                <a:gd name="T14" fmla="*/ 224 w 448"/>
                <a:gd name="T15" fmla="*/ 64 h 448"/>
                <a:gd name="T16" fmla="*/ 384 w 448"/>
                <a:gd name="T17" fmla="*/ 224 h 448"/>
                <a:gd name="T18" fmla="*/ 224 w 448"/>
                <a:gd name="T19" fmla="*/ 384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8" h="448">
                  <a:moveTo>
                    <a:pt x="224" y="0"/>
                  </a:moveTo>
                  <a:cubicBezTo>
                    <a:pt x="100" y="0"/>
                    <a:pt x="0" y="100"/>
                    <a:pt x="0" y="224"/>
                  </a:cubicBezTo>
                  <a:cubicBezTo>
                    <a:pt x="0" y="348"/>
                    <a:pt x="100" y="448"/>
                    <a:pt x="224" y="448"/>
                  </a:cubicBezTo>
                  <a:cubicBezTo>
                    <a:pt x="348" y="448"/>
                    <a:pt x="448" y="348"/>
                    <a:pt x="448" y="224"/>
                  </a:cubicBezTo>
                  <a:cubicBezTo>
                    <a:pt x="448" y="100"/>
                    <a:pt x="348" y="0"/>
                    <a:pt x="224" y="0"/>
                  </a:cubicBezTo>
                  <a:close/>
                  <a:moveTo>
                    <a:pt x="224" y="384"/>
                  </a:moveTo>
                  <a:cubicBezTo>
                    <a:pt x="136" y="384"/>
                    <a:pt x="64" y="312"/>
                    <a:pt x="64" y="224"/>
                  </a:cubicBezTo>
                  <a:cubicBezTo>
                    <a:pt x="64" y="136"/>
                    <a:pt x="136" y="64"/>
                    <a:pt x="224" y="64"/>
                  </a:cubicBezTo>
                  <a:cubicBezTo>
                    <a:pt x="312" y="64"/>
                    <a:pt x="384" y="136"/>
                    <a:pt x="384" y="224"/>
                  </a:cubicBezTo>
                  <a:cubicBezTo>
                    <a:pt x="384" y="312"/>
                    <a:pt x="312" y="384"/>
                    <a:pt x="224" y="3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B87E2D14-927E-4195-87C0-DB3E6537AA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6" y="4581526"/>
              <a:ext cx="255588" cy="257175"/>
            </a:xfrm>
            <a:custGeom>
              <a:avLst/>
              <a:gdLst>
                <a:gd name="T0" fmla="*/ 32 w 288"/>
                <a:gd name="T1" fmla="*/ 0 h 288"/>
                <a:gd name="T2" fmla="*/ 0 w 288"/>
                <a:gd name="T3" fmla="*/ 32 h 288"/>
                <a:gd name="T4" fmla="*/ 0 w 288"/>
                <a:gd name="T5" fmla="*/ 288 h 288"/>
                <a:gd name="T6" fmla="*/ 64 w 288"/>
                <a:gd name="T7" fmla="*/ 288 h 288"/>
                <a:gd name="T8" fmla="*/ 64 w 288"/>
                <a:gd name="T9" fmla="*/ 64 h 288"/>
                <a:gd name="T10" fmla="*/ 288 w 288"/>
                <a:gd name="T11" fmla="*/ 64 h 288"/>
                <a:gd name="T12" fmla="*/ 288 w 288"/>
                <a:gd name="T13" fmla="*/ 0 h 288"/>
                <a:gd name="T14" fmla="*/ 32 w 288"/>
                <a:gd name="T1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288">
                  <a:moveTo>
                    <a:pt x="32" y="0"/>
                  </a:moveTo>
                  <a:cubicBezTo>
                    <a:pt x="14" y="0"/>
                    <a:pt x="0" y="14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64" y="288"/>
                    <a:pt x="64" y="288"/>
                    <a:pt x="64" y="288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288" y="64"/>
                    <a:pt x="288" y="64"/>
                    <a:pt x="288" y="64"/>
                  </a:cubicBezTo>
                  <a:cubicBezTo>
                    <a:pt x="288" y="0"/>
                    <a:pt x="288" y="0"/>
                    <a:pt x="288" y="0"/>
                  </a:cubicBez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8FF1468A-C24F-4663-AA14-1C54168D0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5463" y="4581526"/>
              <a:ext cx="255588" cy="257175"/>
            </a:xfrm>
            <a:custGeom>
              <a:avLst/>
              <a:gdLst>
                <a:gd name="T0" fmla="*/ 256 w 288"/>
                <a:gd name="T1" fmla="*/ 0 h 288"/>
                <a:gd name="T2" fmla="*/ 0 w 288"/>
                <a:gd name="T3" fmla="*/ 0 h 288"/>
                <a:gd name="T4" fmla="*/ 0 w 288"/>
                <a:gd name="T5" fmla="*/ 64 h 288"/>
                <a:gd name="T6" fmla="*/ 224 w 288"/>
                <a:gd name="T7" fmla="*/ 64 h 288"/>
                <a:gd name="T8" fmla="*/ 224 w 288"/>
                <a:gd name="T9" fmla="*/ 288 h 288"/>
                <a:gd name="T10" fmla="*/ 288 w 288"/>
                <a:gd name="T11" fmla="*/ 288 h 288"/>
                <a:gd name="T12" fmla="*/ 288 w 288"/>
                <a:gd name="T13" fmla="*/ 32 h 288"/>
                <a:gd name="T14" fmla="*/ 256 w 288"/>
                <a:gd name="T1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288">
                  <a:moveTo>
                    <a:pt x="25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24" y="64"/>
                    <a:pt x="224" y="64"/>
                    <a:pt x="224" y="64"/>
                  </a:cubicBezTo>
                  <a:cubicBezTo>
                    <a:pt x="224" y="288"/>
                    <a:pt x="224" y="288"/>
                    <a:pt x="224" y="288"/>
                  </a:cubicBezTo>
                  <a:cubicBezTo>
                    <a:pt x="288" y="288"/>
                    <a:pt x="288" y="288"/>
                    <a:pt x="288" y="288"/>
                  </a:cubicBezTo>
                  <a:cubicBezTo>
                    <a:pt x="288" y="32"/>
                    <a:pt x="288" y="32"/>
                    <a:pt x="288" y="32"/>
                  </a:cubicBezTo>
                  <a:cubicBezTo>
                    <a:pt x="288" y="14"/>
                    <a:pt x="274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5">
              <a:extLst>
                <a:ext uri="{FF2B5EF4-FFF2-40B4-BE49-F238E27FC236}">
                  <a16:creationId xmlns:a16="http://schemas.microsoft.com/office/drawing/2014/main" id="{CE1BBFAD-6245-4B70-8113-4C0B968D1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5463" y="5756276"/>
              <a:ext cx="255588" cy="257175"/>
            </a:xfrm>
            <a:custGeom>
              <a:avLst/>
              <a:gdLst>
                <a:gd name="T0" fmla="*/ 224 w 288"/>
                <a:gd name="T1" fmla="*/ 0 h 288"/>
                <a:gd name="T2" fmla="*/ 224 w 288"/>
                <a:gd name="T3" fmla="*/ 224 h 288"/>
                <a:gd name="T4" fmla="*/ 0 w 288"/>
                <a:gd name="T5" fmla="*/ 224 h 288"/>
                <a:gd name="T6" fmla="*/ 0 w 288"/>
                <a:gd name="T7" fmla="*/ 288 h 288"/>
                <a:gd name="T8" fmla="*/ 256 w 288"/>
                <a:gd name="T9" fmla="*/ 288 h 288"/>
                <a:gd name="T10" fmla="*/ 288 w 288"/>
                <a:gd name="T11" fmla="*/ 256 h 288"/>
                <a:gd name="T12" fmla="*/ 288 w 288"/>
                <a:gd name="T13" fmla="*/ 0 h 288"/>
                <a:gd name="T14" fmla="*/ 224 w 288"/>
                <a:gd name="T15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288">
                  <a:moveTo>
                    <a:pt x="224" y="0"/>
                  </a:moveTo>
                  <a:cubicBezTo>
                    <a:pt x="224" y="224"/>
                    <a:pt x="224" y="224"/>
                    <a:pt x="224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256" y="288"/>
                    <a:pt x="256" y="288"/>
                    <a:pt x="256" y="288"/>
                  </a:cubicBezTo>
                  <a:cubicBezTo>
                    <a:pt x="274" y="288"/>
                    <a:pt x="288" y="274"/>
                    <a:pt x="288" y="256"/>
                  </a:cubicBezTo>
                  <a:cubicBezTo>
                    <a:pt x="288" y="0"/>
                    <a:pt x="288" y="0"/>
                    <a:pt x="288" y="0"/>
                  </a:cubicBezTo>
                  <a:lnTo>
                    <a:pt x="2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02482CF9-C0C5-4F6B-9DE5-030F7884B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1826" y="5756276"/>
              <a:ext cx="255588" cy="257175"/>
            </a:xfrm>
            <a:custGeom>
              <a:avLst/>
              <a:gdLst>
                <a:gd name="T0" fmla="*/ 64 w 288"/>
                <a:gd name="T1" fmla="*/ 224 h 288"/>
                <a:gd name="T2" fmla="*/ 64 w 288"/>
                <a:gd name="T3" fmla="*/ 0 h 288"/>
                <a:gd name="T4" fmla="*/ 0 w 288"/>
                <a:gd name="T5" fmla="*/ 0 h 288"/>
                <a:gd name="T6" fmla="*/ 0 w 288"/>
                <a:gd name="T7" fmla="*/ 256 h 288"/>
                <a:gd name="T8" fmla="*/ 32 w 288"/>
                <a:gd name="T9" fmla="*/ 288 h 288"/>
                <a:gd name="T10" fmla="*/ 288 w 288"/>
                <a:gd name="T11" fmla="*/ 288 h 288"/>
                <a:gd name="T12" fmla="*/ 288 w 288"/>
                <a:gd name="T13" fmla="*/ 224 h 288"/>
                <a:gd name="T14" fmla="*/ 64 w 288"/>
                <a:gd name="T15" fmla="*/ 22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288">
                  <a:moveTo>
                    <a:pt x="64" y="224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6"/>
                    <a:pt x="0" y="256"/>
                    <a:pt x="0" y="256"/>
                  </a:cubicBezTo>
                  <a:cubicBezTo>
                    <a:pt x="0" y="274"/>
                    <a:pt x="14" y="288"/>
                    <a:pt x="32" y="288"/>
                  </a:cubicBezTo>
                  <a:cubicBezTo>
                    <a:pt x="288" y="288"/>
                    <a:pt x="288" y="288"/>
                    <a:pt x="288" y="288"/>
                  </a:cubicBezTo>
                  <a:cubicBezTo>
                    <a:pt x="288" y="224"/>
                    <a:pt x="288" y="224"/>
                    <a:pt x="288" y="224"/>
                  </a:cubicBezTo>
                  <a:lnTo>
                    <a:pt x="64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48011328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Graphic 60">
            <a:extLst>
              <a:ext uri="{FF2B5EF4-FFF2-40B4-BE49-F238E27FC236}">
                <a16:creationId xmlns:a16="http://schemas.microsoft.com/office/drawing/2014/main" id="{8D03FBF8-D9BB-4532-8154-A18C9C324DB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b="63827"/>
          <a:stretch/>
        </p:blipFill>
        <p:spPr>
          <a:xfrm>
            <a:off x="-248856" y="1768444"/>
            <a:ext cx="14083215" cy="5556364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DA8F1A29-2340-481C-9B41-AE3D6D382CA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8457" y="2307139"/>
            <a:ext cx="1496465" cy="1008122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E13229D0-A6C2-47FB-9576-2CF712A8CDB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522736" y="1519366"/>
            <a:ext cx="1073154" cy="1071962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E6C48656-FEC1-41C2-B941-4AF6C8E20F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871449" y="2034801"/>
            <a:ext cx="1018235" cy="1113055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F237DA6C-2235-44B4-B773-9F6763B42EE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576398" y="1819060"/>
            <a:ext cx="1013166" cy="970728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E67FE2DB-24EC-4A1B-B34C-3A1291D1351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276278" y="1027834"/>
            <a:ext cx="673553" cy="878379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09A88E23-8A9F-4277-8325-81A2D50E2D9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317623" y="1768444"/>
            <a:ext cx="1444683" cy="791931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FCF1B2BE-9451-4B6D-9BB2-D5661CFEFD1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8431570" y="2942447"/>
            <a:ext cx="1013166" cy="878379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A21C4282-FA41-4FE6-A171-DF330C0AACEB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343137" y="1202343"/>
            <a:ext cx="1499444" cy="791931"/>
          </a:xfrm>
          <a:prstGeom prst="rect">
            <a:avLst/>
          </a:prstGeom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06E4A20-EC90-4C2A-91F1-23016D96EC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2" name="think-cell Slide" r:id="rId24" imgW="421" imgH="423" progId="TCLayout.ActiveDocument.1">
                  <p:embed/>
                </p:oleObj>
              </mc:Choice>
              <mc:Fallback>
                <p:oleObj name="think-cell Slide" r:id="rId24" imgW="421" imgH="4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06E4A20-EC90-4C2A-91F1-23016D96EC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0903BDD-D538-47A8-AADE-B782BA7700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64E0AF-2628-4C9E-935E-D025FC44A3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0" dirty="0"/>
              <a:t>Where to start | </a:t>
            </a:r>
            <a:r>
              <a:rPr lang="en-GB" dirty="0"/>
              <a:t>A Digital And Connected Mine	</a:t>
            </a:r>
            <a:endParaRPr lang="en-US" dirty="0"/>
          </a:p>
        </p:txBody>
      </p:sp>
      <p:sp>
        <p:nvSpPr>
          <p:cNvPr id="3262" name="Slide Number Placeholder 3261">
            <a:extLst>
              <a:ext uri="{FF2B5EF4-FFF2-40B4-BE49-F238E27FC236}">
                <a16:creationId xmlns:a16="http://schemas.microsoft.com/office/drawing/2014/main" id="{9BC58180-EF2B-4361-BA94-770693299F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774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175E022-D7DD-41FF-877B-91052ED675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BC8B6063-F21C-46E0-91E1-FF33583D974D}"/>
              </a:ext>
            </a:extLst>
          </p:cNvPr>
          <p:cNvSpPr/>
          <p:nvPr/>
        </p:nvSpPr>
        <p:spPr>
          <a:xfrm>
            <a:off x="-27638" y="-119143"/>
            <a:ext cx="12247275" cy="7025599"/>
          </a:xfrm>
          <a:prstGeom prst="rect">
            <a:avLst/>
          </a:prstGeom>
          <a:gradFill flip="none" rotWithShape="1">
            <a:gsLst>
              <a:gs pos="50000">
                <a:srgbClr val="212F3F">
                  <a:alpha val="65000"/>
                </a:srgbClr>
              </a:gs>
              <a:gs pos="81000">
                <a:srgbClr val="212F3F"/>
              </a:gs>
              <a:gs pos="0">
                <a:srgbClr val="212F3F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F938492-A8D9-4E1A-AC08-5CD135AEC22C}"/>
              </a:ext>
            </a:extLst>
          </p:cNvPr>
          <p:cNvSpPr/>
          <p:nvPr/>
        </p:nvSpPr>
        <p:spPr>
          <a:xfrm>
            <a:off x="-55275" y="4604084"/>
            <a:ext cx="12247275" cy="1076972"/>
          </a:xfrm>
          <a:prstGeom prst="rect">
            <a:avLst/>
          </a:prstGeom>
          <a:gradFill>
            <a:gsLst>
              <a:gs pos="97000">
                <a:schemeClr val="bg1">
                  <a:alpha val="0"/>
                </a:schemeClr>
              </a:gs>
              <a:gs pos="0">
                <a:srgbClr val="85C00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AR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1A9C275-5FBA-4D09-BFFD-BD5B776E0858}"/>
              </a:ext>
            </a:extLst>
          </p:cNvPr>
          <p:cNvSpPr txBox="1"/>
          <p:nvPr/>
        </p:nvSpPr>
        <p:spPr>
          <a:xfrm>
            <a:off x="334963" y="4841073"/>
            <a:ext cx="9797606" cy="906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6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200" b="1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UNLOCKING V</a:t>
            </a:r>
            <a:r>
              <a:rPr kumimoji="0" lang="en-US" sz="7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uLnTx/>
                <a:uFillTx/>
                <a:latin typeface="+mj-lt"/>
                <a:cs typeface="Arial" panose="020B0604020202020204" pitchFamily="34" charset="0"/>
              </a:rPr>
              <a:t>ALU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E09BBD1-7278-4A19-95FF-5F793D2449C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5073" y="0"/>
            <a:ext cx="1056927" cy="1509088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50F39-43BF-46B6-AD68-61978691C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64477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349781-B75D-445C-B611-3661442A9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DE82C-19FF-4122-931F-2BD77445347C}" type="slidenum">
              <a:rPr lang="en-US" smtClean="0"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07FE29-A462-41B2-8A71-96E101E2D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0" dirty="0">
                <a:solidFill>
                  <a:srgbClr val="3A2B26"/>
                </a:solidFill>
              </a:rPr>
              <a:t>Unlocking Value | </a:t>
            </a:r>
            <a:r>
              <a:rPr lang="en-GB" dirty="0"/>
              <a:t>Visualisation of the Value Chain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6BDCDCA-66F2-4B1B-A752-A2147165FF6B}"/>
              </a:ext>
            </a:extLst>
          </p:cNvPr>
          <p:cNvSpPr/>
          <p:nvPr/>
        </p:nvSpPr>
        <p:spPr>
          <a:xfrm>
            <a:off x="0" y="1391302"/>
            <a:ext cx="12192000" cy="400110"/>
          </a:xfrm>
          <a:prstGeom prst="rect">
            <a:avLst/>
          </a:prstGeom>
          <a:solidFill>
            <a:schemeClr val="accent1"/>
          </a:solidFill>
          <a:ln>
            <a:solidFill>
              <a:srgbClr val="8FD40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Times New Roman" panose="02020603050405020304" pitchFamily="18" charset="0"/>
              </a:rPr>
              <a:t>The primary objective to visualise operational constraints in real time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Times New Roman" panose="02020603050405020304" pitchFamily="18" charset="0"/>
            </a:endParaRPr>
          </a:p>
        </p:txBody>
      </p:sp>
      <p:pic>
        <p:nvPicPr>
          <p:cNvPr id="65" name="Picture">
            <a:hlinkClick r:id="rId2"/>
            <a:extLst>
              <a:ext uri="{FF2B5EF4-FFF2-40B4-BE49-F238E27FC236}">
                <a16:creationId xmlns:a16="http://schemas.microsoft.com/office/drawing/2014/main" id="{05D8359B-30FB-4413-9455-E9D62D6C548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506" y="2135525"/>
            <a:ext cx="3774690" cy="19209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  <a:softEdge rad="12700"/>
          </a:effectLst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353EFA8E-425F-4200-B23C-D885021CEEE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507" y="4344583"/>
            <a:ext cx="3795481" cy="197995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  <a:softEdge rad="12700"/>
          </a:effectLst>
        </p:spPr>
      </p:pic>
      <p:pic>
        <p:nvPicPr>
          <p:cNvPr id="67" name="Picture 2" descr="image001">
            <a:extLst>
              <a:ext uri="{FF2B5EF4-FFF2-40B4-BE49-F238E27FC236}">
                <a16:creationId xmlns:a16="http://schemas.microsoft.com/office/drawing/2014/main" id="{7CD09F2F-C032-4E13-86F7-B5A0DCD54E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3170" y="4344583"/>
            <a:ext cx="3900928" cy="19947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  <a:softEdge rad="1270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45F0FE76-990C-465D-A5DD-226721581C2E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9822" y="4344583"/>
            <a:ext cx="3647216" cy="196321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  <a:softEdge rad="12700"/>
          </a:effectLst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C87B0955-F39B-4201-BCB8-6D7E4B98A91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9822" y="2135525"/>
            <a:ext cx="3647215" cy="19209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  <a:softEdge rad="12700"/>
          </a:effectLst>
        </p:spPr>
      </p:pic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AE54B0F7-4963-476B-AAC9-EDB59A703743}"/>
              </a:ext>
            </a:extLst>
          </p:cNvPr>
          <p:cNvSpPr txBox="1">
            <a:spLocks/>
          </p:cNvSpPr>
          <p:nvPr/>
        </p:nvSpPr>
        <p:spPr>
          <a:xfrm>
            <a:off x="610213" y="1881661"/>
            <a:ext cx="1230978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FAE8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ZA" sz="1700" i="0" u="none" strike="noStrike" kern="1200" cap="none" spc="0" normalizeH="0" baseline="0" noProof="0" dirty="0">
                <a:ln>
                  <a:noFill/>
                </a:ln>
                <a:solidFill>
                  <a:srgbClr val="85C004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</a:rPr>
              <a:t>LEEUWPAN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B2F7C1A9-4237-4112-B433-949BE10AEDD8}"/>
              </a:ext>
            </a:extLst>
          </p:cNvPr>
          <p:cNvSpPr txBox="1">
            <a:spLocks/>
          </p:cNvSpPr>
          <p:nvPr/>
        </p:nvSpPr>
        <p:spPr>
          <a:xfrm>
            <a:off x="4394784" y="4067676"/>
            <a:ext cx="1708801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ctr" anchorCtr="0">
            <a:sp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b="1">
                <a:solidFill>
                  <a:schemeClr val="accent2"/>
                </a:solidFill>
              </a:defRPr>
            </a:lvl1pPr>
            <a:lvl2pPr marL="273050"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2pPr>
            <a:lvl3pPr marL="534988"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3pPr>
            <a:lvl4pPr marL="808038"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4pPr>
            <a:lvl5pPr marL="1079500" indent="0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defTabSz="914400">
              <a:buClr>
                <a:srgbClr val="8FAE84"/>
              </a:buClr>
              <a:defRPr/>
            </a:pPr>
            <a:r>
              <a:rPr lang="en-ZA" sz="1700" dirty="0">
                <a:solidFill>
                  <a:srgbClr val="85C004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GROOTEGELUK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91ADE315-1D33-42FB-97E7-4DEC489CC7A9}"/>
              </a:ext>
            </a:extLst>
          </p:cNvPr>
          <p:cNvSpPr txBox="1">
            <a:spLocks/>
          </p:cNvSpPr>
          <p:nvPr/>
        </p:nvSpPr>
        <p:spPr>
          <a:xfrm>
            <a:off x="8403942" y="1881661"/>
            <a:ext cx="460062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8FAE84"/>
              </a:buClr>
              <a:defRPr/>
            </a:pPr>
            <a:r>
              <a:rPr lang="en-ZA" sz="1700" dirty="0">
                <a:solidFill>
                  <a:srgbClr val="85C004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ECC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3F29E39-6AF2-422D-BF2C-F887ABFE5D93}"/>
              </a:ext>
            </a:extLst>
          </p:cNvPr>
          <p:cNvSpPr txBox="1">
            <a:spLocks/>
          </p:cNvSpPr>
          <p:nvPr/>
        </p:nvSpPr>
        <p:spPr>
          <a:xfrm>
            <a:off x="610213" y="4070240"/>
            <a:ext cx="987450" cy="281103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buClr>
                <a:srgbClr val="8FAE84"/>
              </a:buClr>
              <a:defRPr/>
            </a:pPr>
            <a:r>
              <a:rPr lang="en-ZA" dirty="0">
                <a:solidFill>
                  <a:srgbClr val="85C004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MAFUB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4C005C1-4C9C-45B9-B09A-F4D5EAB8DAA0}"/>
              </a:ext>
            </a:extLst>
          </p:cNvPr>
          <p:cNvSpPr txBox="1">
            <a:spLocks/>
          </p:cNvSpPr>
          <p:nvPr/>
        </p:nvSpPr>
        <p:spPr>
          <a:xfrm>
            <a:off x="4394784" y="1881661"/>
            <a:ext cx="993029" cy="261610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8FAE84"/>
              </a:buClr>
              <a:defRPr/>
            </a:pPr>
            <a:r>
              <a:rPr lang="en-ZA" sz="1700" dirty="0">
                <a:solidFill>
                  <a:srgbClr val="85C004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BELFAST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8EAC444D-21B7-4057-A4F3-C0D8BD556E93}"/>
              </a:ext>
            </a:extLst>
          </p:cNvPr>
          <p:cNvSpPr txBox="1">
            <a:spLocks/>
          </p:cNvSpPr>
          <p:nvPr/>
        </p:nvSpPr>
        <p:spPr>
          <a:xfrm>
            <a:off x="8403942" y="4067676"/>
            <a:ext cx="745397" cy="270330"/>
          </a:xfrm>
          <a:prstGeom prst="rect">
            <a:avLst/>
          </a:prstGeom>
          <a:solidFill>
            <a:srgbClr val="FFFFFF"/>
          </a:solidFill>
        </p:spPr>
        <p:txBody>
          <a:bodyPr vert="horz" wrap="non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8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27305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3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buClr>
                <a:srgbClr val="8FAE84"/>
              </a:buClr>
              <a:defRPr/>
            </a:pPr>
            <a:r>
              <a:rPr lang="en-ZA" sz="1700" dirty="0">
                <a:solidFill>
                  <a:srgbClr val="85C004"/>
                </a:solidFill>
                <a:latin typeface="Roboto Black" panose="02000000000000000000" pitchFamily="2" charset="0"/>
                <a:ea typeface="Roboto Black" panose="02000000000000000000" pitchFamily="2" charset="0"/>
              </a:rPr>
              <a:t>MATLA</a:t>
            </a:r>
          </a:p>
        </p:txBody>
      </p:sp>
      <p:pic>
        <p:nvPicPr>
          <p:cNvPr id="17" name="Picture 2" descr="image001">
            <a:extLst>
              <a:ext uri="{FF2B5EF4-FFF2-40B4-BE49-F238E27FC236}">
                <a16:creationId xmlns:a16="http://schemas.microsoft.com/office/drawing/2014/main" id="{6BD02B72-447C-4F08-9636-86434A03A5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13689" y="2143271"/>
            <a:ext cx="3905640" cy="192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7654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8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3.62654100000000001458E+00&quot;&gt;&lt;m_msothmcolidx val=&quot;0&quot;/&gt;&lt;m_rgb r=&quot;94&quot; g=&quot;BC&quot; b=&quot;12&quot;/&gt;&lt;m_nBrightness tagver0=&quot;26206&quot; tagname0=&quot;m_nBrightnessUNRECOGNIZED&quot; val=&quot;0&quot;/&gt;&lt;/elem&gt;&lt;elem m_fUsage=&quot;1.00000000000000000000E+00&quot;&gt;&lt;m_msothmcolidx val=&quot;0&quot;/&gt;&lt;m_rgb r=&quot;C8&quot; g=&quot;B5&quot; b=&quot;66&quot;/&gt;&lt;m_nBrightness tagver0=&quot;26206&quot; tagname0=&quot;m_nBrightnessUNRECOGNIZED&quot; val=&quot;0&quot;/&gt;&lt;/elem&gt;&lt;elem m_fUsage=&quot;5.90490000000000181402E-01&quot;&gt;&lt;m_msothmcolidx val=&quot;0&quot;/&gt;&lt;m_rgb r=&quot;FF&quot; g=&quot;00&quot; b=&quot;00&quot;/&gt;&lt;m_nBrightness tagver0=&quot;26206&quot; tagname0=&quot;m_nBrightnessUNRECOGNIZED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  <p:tag name="TPPRESENTATIONGUID" val="1b9ef5ef-e955-43a2-a912-722e64bef816"/>
  <p:tag name="WASPOLLED" val="C42D5DF74ED747C69938703732A53048"/>
  <p:tag name="TPVERSION" val="8"/>
  <p:tag name="TPFULLVERSION" val="8.7.2.14"/>
  <p:tag name="PPTVERSION" val="16"/>
  <p:tag name="TPOS" val="2"/>
  <p:tag name="TPLASTSAVEVERSION" val="6.4 PC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gJWZVzS9a1UNnmP_cy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95gFT1Q3y5yxTiBZaE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dynS1VQPyVzZ7nCUYh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 Theme">
  <a:themeElements>
    <a:clrScheme name="Exxaro 2019">
      <a:dk1>
        <a:srgbClr val="3A2B26"/>
      </a:dk1>
      <a:lt1>
        <a:srgbClr val="FFFFFF"/>
      </a:lt1>
      <a:dk2>
        <a:srgbClr val="3A2B26"/>
      </a:dk2>
      <a:lt2>
        <a:srgbClr val="FFFFFF"/>
      </a:lt2>
      <a:accent1>
        <a:srgbClr val="A5CF4C"/>
      </a:accent1>
      <a:accent2>
        <a:srgbClr val="5FA0BB"/>
      </a:accent2>
      <a:accent3>
        <a:srgbClr val="8FAE84"/>
      </a:accent3>
      <a:accent4>
        <a:srgbClr val="88CED1"/>
      </a:accent4>
      <a:accent5>
        <a:srgbClr val="E0CA5F"/>
      </a:accent5>
      <a:accent6>
        <a:srgbClr val="796249"/>
      </a:accent6>
      <a:hlink>
        <a:srgbClr val="3A2B26"/>
      </a:hlink>
      <a:folHlink>
        <a:srgbClr val="C6C398"/>
      </a:folHlink>
    </a:clrScheme>
    <a:fontScheme name="Custom 1">
      <a:majorFont>
        <a:latin typeface="Roboto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Exxaro 2019">
      <a:dk1>
        <a:srgbClr val="3A2B26"/>
      </a:dk1>
      <a:lt1>
        <a:srgbClr val="FFFFFF"/>
      </a:lt1>
      <a:dk2>
        <a:srgbClr val="3A2B26"/>
      </a:dk2>
      <a:lt2>
        <a:srgbClr val="FFFFFF"/>
      </a:lt2>
      <a:accent1>
        <a:srgbClr val="A5CF4C"/>
      </a:accent1>
      <a:accent2>
        <a:srgbClr val="5FA0BB"/>
      </a:accent2>
      <a:accent3>
        <a:srgbClr val="8FAE84"/>
      </a:accent3>
      <a:accent4>
        <a:srgbClr val="88CED1"/>
      </a:accent4>
      <a:accent5>
        <a:srgbClr val="E0CA5F"/>
      </a:accent5>
      <a:accent6>
        <a:srgbClr val="796249"/>
      </a:accent6>
      <a:hlink>
        <a:srgbClr val="3A2B26"/>
      </a:hlink>
      <a:folHlink>
        <a:srgbClr val="C6C398"/>
      </a:folHlink>
    </a:clrScheme>
    <a:fontScheme name="Exxaro 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xxaro 2019">
    <a:dk1>
      <a:srgbClr val="3A2B26"/>
    </a:dk1>
    <a:lt1>
      <a:srgbClr val="FFFFFF"/>
    </a:lt1>
    <a:dk2>
      <a:srgbClr val="3A2B26"/>
    </a:dk2>
    <a:lt2>
      <a:srgbClr val="FFFFFF"/>
    </a:lt2>
    <a:accent1>
      <a:srgbClr val="A5CF4C"/>
    </a:accent1>
    <a:accent2>
      <a:srgbClr val="5FA0BB"/>
    </a:accent2>
    <a:accent3>
      <a:srgbClr val="8FAE84"/>
    </a:accent3>
    <a:accent4>
      <a:srgbClr val="88CED1"/>
    </a:accent4>
    <a:accent5>
      <a:srgbClr val="E0CA5F"/>
    </a:accent5>
    <a:accent6>
      <a:srgbClr val="796249"/>
    </a:accent6>
    <a:hlink>
      <a:srgbClr val="3A2B26"/>
    </a:hlink>
    <a:folHlink>
      <a:srgbClr val="C6C398"/>
    </a:folHlink>
  </a:clrScheme>
  <a:fontScheme name="Exxaro 2019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8B130505B3AF43B49223A052116ED7" ma:contentTypeVersion="10" ma:contentTypeDescription="Create a new document." ma:contentTypeScope="" ma:versionID="42ed592899138e62b46cb88dc7aa7d27">
  <xsd:schema xmlns:xsd="http://www.w3.org/2001/XMLSchema" xmlns:xs="http://www.w3.org/2001/XMLSchema" xmlns:p="http://schemas.microsoft.com/office/2006/metadata/properties" xmlns:ns3="6f7c00fe-f007-4819-a95d-2d697d886e44" xmlns:ns4="3888a009-4e26-4ca3-a6a6-88b5a29803dd" targetNamespace="http://schemas.microsoft.com/office/2006/metadata/properties" ma:root="true" ma:fieldsID="244d422a5b9d9436af2efa19398c36a2" ns3:_="" ns4:_="">
    <xsd:import namespace="6f7c00fe-f007-4819-a95d-2d697d886e44"/>
    <xsd:import namespace="3888a009-4e26-4ca3-a6a6-88b5a29803d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7c00fe-f007-4819-a95d-2d697d886e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88a009-4e26-4ca3-a6a6-88b5a29803d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A4B238E-E748-4F4A-A3EC-0EEEFB68A73E}">
  <ds:schemaRefs>
    <ds:schemaRef ds:uri="6f7c00fe-f007-4819-a95d-2d697d886e44"/>
    <ds:schemaRef ds:uri="http://schemas.microsoft.com/office/2006/metadata/properties"/>
    <ds:schemaRef ds:uri="http://purl.org/dc/elements/1.1/"/>
    <ds:schemaRef ds:uri="http://purl.org/dc/dcmitype/"/>
    <ds:schemaRef ds:uri="3888a009-4e26-4ca3-a6a6-88b5a29803dd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FCEB2519-204F-443D-8A4F-1F64CCEEB0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998DF56-F6CC-4518-90E6-870F04AD61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f7c00fe-f007-4819-a95d-2d697d886e44"/>
    <ds:schemaRef ds:uri="3888a009-4e26-4ca3-a6a6-88b5a29803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963</TotalTime>
  <Words>1047</Words>
  <Application>Microsoft Macintosh PowerPoint</Application>
  <PresentationFormat>Widescreen</PresentationFormat>
  <Paragraphs>242</Paragraphs>
  <Slides>30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3" baseType="lpstr">
      <vt:lpstr>Arial</vt:lpstr>
      <vt:lpstr>Arial Black</vt:lpstr>
      <vt:lpstr>Calibri</vt:lpstr>
      <vt:lpstr>Calibri Light</vt:lpstr>
      <vt:lpstr>Graphik</vt:lpstr>
      <vt:lpstr>Roboto</vt:lpstr>
      <vt:lpstr>Roboto Black</vt:lpstr>
      <vt:lpstr>Roboto Light</vt:lpstr>
      <vt:lpstr>Verdana</vt:lpstr>
      <vt:lpstr>2_Custom Design</vt:lpstr>
      <vt:lpstr>3_Office Theme</vt:lpstr>
      <vt:lpstr>1_Office Theme</vt:lpstr>
      <vt:lpstr>think-cell Slide</vt:lpstr>
      <vt:lpstr>PowerPoint Presentation</vt:lpstr>
      <vt:lpstr>THE MINING INDUSTRY IS ON THE BRINK OF A TECHNOLOGICAL REVOLUTION  </vt:lpstr>
      <vt:lpstr>PowerPoint Presentation</vt:lpstr>
      <vt:lpstr>THE 3 BIG CHALLENGES? </vt:lpstr>
      <vt:lpstr>Where to start | Our program is geared towards improving productivity and reducing cost </vt:lpstr>
      <vt:lpstr>Where to start | Progress to Date </vt:lpstr>
      <vt:lpstr>Where to start | A Digital And Connected Mine </vt:lpstr>
      <vt:lpstr>PowerPoint Presentation</vt:lpstr>
      <vt:lpstr>Unlocking Value | Visualisation of the Value Chain</vt:lpstr>
      <vt:lpstr>Unlocking Value | Integrated Operations Centres are implemented across all the business units</vt:lpstr>
      <vt:lpstr>PowerPoint Presentation</vt:lpstr>
      <vt:lpstr>Unlocking Value | Market2Resource Optimisation</vt:lpstr>
      <vt:lpstr>Unlocking Value | Underground Real Time Decision Making </vt:lpstr>
      <vt:lpstr>Unlocking Value | Using Data Science for Predictive Maintenance and Analytics (Digital Twin )</vt:lpstr>
      <vt:lpstr>Unlocking Value | Mineral Resource Integration</vt:lpstr>
      <vt:lpstr>PowerPoint Presentation</vt:lpstr>
      <vt:lpstr>Unlocking Value | Automation</vt:lpstr>
      <vt:lpstr>PowerPoint Presentation</vt:lpstr>
      <vt:lpstr>Value Realised│ GG IOC (ops eye) MVP completed in 2018</vt:lpstr>
      <vt:lpstr>Value Realised│ Integrated Operations Centres </vt:lpstr>
      <vt:lpstr>PowerPoint Presentation</vt:lpstr>
      <vt:lpstr>PowerPoint Presentation</vt:lpstr>
      <vt:lpstr>PowerPoint Presentation</vt:lpstr>
      <vt:lpstr>Start up Culture | Culture Drive to Entrench Adoption </vt:lpstr>
      <vt:lpstr>PowerPoint Presentation</vt:lpstr>
      <vt:lpstr>What’s Next | Exxaro to be a mining and resource “Innovation Magnet”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Wilson</dc:creator>
  <cp:lastModifiedBy>Ben Krawchuk</cp:lastModifiedBy>
  <cp:revision>314</cp:revision>
  <dcterms:created xsi:type="dcterms:W3CDTF">2019-03-15T20:57:02Z</dcterms:created>
  <dcterms:modified xsi:type="dcterms:W3CDTF">2019-11-07T07:1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8B130505B3AF43B49223A052116ED7</vt:lpwstr>
  </property>
</Properties>
</file>